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02" r:id="rId2"/>
    <p:sldId id="705" r:id="rId3"/>
    <p:sldId id="700" r:id="rId4"/>
    <p:sldId id="703" r:id="rId5"/>
    <p:sldId id="704" r:id="rId6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70C0"/>
    <a:srgbClr val="FFC000"/>
    <a:srgbClr val="000000"/>
    <a:srgbClr val="FF0000"/>
    <a:srgbClr val="00FF00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70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97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82438378712428"/>
          <c:y val="4.627551316267748E-2"/>
          <c:w val="0.8387312626781529"/>
          <c:h val="0.7963225404045333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05</c:f>
              <c:numCache>
                <c:formatCode>m/d/yyyy</c:formatCode>
                <c:ptCount val="2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</c:numCache>
            </c:numRef>
          </c:cat>
          <c:val>
            <c:numRef>
              <c:f>Sheet1!$D$2:$D$205</c:f>
              <c:numCache>
                <c:formatCode>#,##0</c:formatCode>
                <c:ptCount val="204"/>
                <c:pt idx="0">
                  <c:v>27</c:v>
                </c:pt>
                <c:pt idx="1">
                  <c:v>29</c:v>
                </c:pt>
                <c:pt idx="2">
                  <c:v>32</c:v>
                </c:pt>
                <c:pt idx="3">
                  <c:v>34</c:v>
                </c:pt>
                <c:pt idx="4">
                  <c:v>34</c:v>
                </c:pt>
                <c:pt idx="5">
                  <c:v>36</c:v>
                </c:pt>
                <c:pt idx="6">
                  <c:v>40</c:v>
                </c:pt>
                <c:pt idx="7">
                  <c:v>37</c:v>
                </c:pt>
                <c:pt idx="8">
                  <c:v>40</c:v>
                </c:pt>
                <c:pt idx="9">
                  <c:v>42</c:v>
                </c:pt>
                <c:pt idx="10">
                  <c:v>44</c:v>
                </c:pt>
                <c:pt idx="11">
                  <c:v>42</c:v>
                </c:pt>
                <c:pt idx="12">
                  <c:v>45</c:v>
                </c:pt>
                <c:pt idx="13">
                  <c:v>42</c:v>
                </c:pt>
                <c:pt idx="14">
                  <c:v>42</c:v>
                </c:pt>
                <c:pt idx="15">
                  <c:v>43</c:v>
                </c:pt>
                <c:pt idx="16">
                  <c:v>50</c:v>
                </c:pt>
                <c:pt idx="17">
                  <c:v>58</c:v>
                </c:pt>
                <c:pt idx="18">
                  <c:v>57</c:v>
                </c:pt>
                <c:pt idx="19">
                  <c:v>59</c:v>
                </c:pt>
                <c:pt idx="20">
                  <c:v>71</c:v>
                </c:pt>
                <c:pt idx="21">
                  <c:v>75</c:v>
                </c:pt>
                <c:pt idx="22">
                  <c:v>80</c:v>
                </c:pt>
                <c:pt idx="23">
                  <c:v>93</c:v>
                </c:pt>
                <c:pt idx="24">
                  <c:v>96</c:v>
                </c:pt>
                <c:pt idx="25">
                  <c:v>98</c:v>
                </c:pt>
                <c:pt idx="26">
                  <c:v>107</c:v>
                </c:pt>
                <c:pt idx="27">
                  <c:v>101</c:v>
                </c:pt>
                <c:pt idx="28">
                  <c:v>109</c:v>
                </c:pt>
                <c:pt idx="29">
                  <c:v>110</c:v>
                </c:pt>
                <c:pt idx="30">
                  <c:v>125</c:v>
                </c:pt>
                <c:pt idx="31">
                  <c:v>126</c:v>
                </c:pt>
                <c:pt idx="32">
                  <c:v>126</c:v>
                </c:pt>
                <c:pt idx="33">
                  <c:v>129</c:v>
                </c:pt>
                <c:pt idx="34">
                  <c:v>145</c:v>
                </c:pt>
                <c:pt idx="35">
                  <c:v>155</c:v>
                </c:pt>
                <c:pt idx="36">
                  <c:v>172</c:v>
                </c:pt>
                <c:pt idx="37">
                  <c:v>174</c:v>
                </c:pt>
                <c:pt idx="38">
                  <c:v>191</c:v>
                </c:pt>
                <c:pt idx="39">
                  <c:v>205</c:v>
                </c:pt>
                <c:pt idx="40">
                  <c:v>192</c:v>
                </c:pt>
                <c:pt idx="41">
                  <c:v>217</c:v>
                </c:pt>
                <c:pt idx="42">
                  <c:v>234</c:v>
                </c:pt>
                <c:pt idx="43">
                  <c:v>245</c:v>
                </c:pt>
                <c:pt idx="44">
                  <c:v>269</c:v>
                </c:pt>
                <c:pt idx="45">
                  <c:v>289</c:v>
                </c:pt>
                <c:pt idx="46">
                  <c:v>301</c:v>
                </c:pt>
                <c:pt idx="47">
                  <c:v>311</c:v>
                </c:pt>
                <c:pt idx="48">
                  <c:v>328</c:v>
                </c:pt>
                <c:pt idx="49">
                  <c:v>343</c:v>
                </c:pt>
                <c:pt idx="50">
                  <c:v>361</c:v>
                </c:pt>
                <c:pt idx="51">
                  <c:v>381</c:v>
                </c:pt>
                <c:pt idx="52">
                  <c:v>377</c:v>
                </c:pt>
                <c:pt idx="53">
                  <c:v>375</c:v>
                </c:pt>
                <c:pt idx="54">
                  <c:v>385</c:v>
                </c:pt>
                <c:pt idx="55">
                  <c:v>431</c:v>
                </c:pt>
                <c:pt idx="56">
                  <c:v>455</c:v>
                </c:pt>
                <c:pt idx="57">
                  <c:v>467</c:v>
                </c:pt>
                <c:pt idx="58">
                  <c:v>521</c:v>
                </c:pt>
                <c:pt idx="59">
                  <c:v>533</c:v>
                </c:pt>
                <c:pt idx="60">
                  <c:v>558</c:v>
                </c:pt>
                <c:pt idx="61">
                  <c:v>573</c:v>
                </c:pt>
                <c:pt idx="62">
                  <c:v>601</c:v>
                </c:pt>
                <c:pt idx="63">
                  <c:v>623</c:v>
                </c:pt>
                <c:pt idx="64">
                  <c:v>602</c:v>
                </c:pt>
                <c:pt idx="65">
                  <c:v>593</c:v>
                </c:pt>
                <c:pt idx="66">
                  <c:v>601</c:v>
                </c:pt>
                <c:pt idx="67">
                  <c:v>582</c:v>
                </c:pt>
                <c:pt idx="68">
                  <c:v>582</c:v>
                </c:pt>
                <c:pt idx="69">
                  <c:v>609</c:v>
                </c:pt>
                <c:pt idx="70">
                  <c:v>604</c:v>
                </c:pt>
                <c:pt idx="71">
                  <c:v>581</c:v>
                </c:pt>
                <c:pt idx="72">
                  <c:v>557</c:v>
                </c:pt>
                <c:pt idx="73">
                  <c:v>545</c:v>
                </c:pt>
                <c:pt idx="74">
                  <c:v>526</c:v>
                </c:pt>
                <c:pt idx="75">
                  <c:v>516</c:v>
                </c:pt>
                <c:pt idx="76">
                  <c:v>502</c:v>
                </c:pt>
                <c:pt idx="77">
                  <c:v>470</c:v>
                </c:pt>
                <c:pt idx="78">
                  <c:v>471</c:v>
                </c:pt>
                <c:pt idx="79">
                  <c:v>465</c:v>
                </c:pt>
                <c:pt idx="80">
                  <c:v>445</c:v>
                </c:pt>
                <c:pt idx="81">
                  <c:v>450</c:v>
                </c:pt>
                <c:pt idx="82">
                  <c:v>447</c:v>
                </c:pt>
                <c:pt idx="83">
                  <c:v>437</c:v>
                </c:pt>
                <c:pt idx="84">
                  <c:v>405</c:v>
                </c:pt>
                <c:pt idx="85">
                  <c:v>389</c:v>
                </c:pt>
                <c:pt idx="86">
                  <c:v>394</c:v>
                </c:pt>
                <c:pt idx="87">
                  <c:v>367</c:v>
                </c:pt>
                <c:pt idx="88">
                  <c:v>356</c:v>
                </c:pt>
                <c:pt idx="89">
                  <c:v>339</c:v>
                </c:pt>
                <c:pt idx="90">
                  <c:v>347</c:v>
                </c:pt>
                <c:pt idx="91">
                  <c:v>319</c:v>
                </c:pt>
                <c:pt idx="92">
                  <c:v>305</c:v>
                </c:pt>
                <c:pt idx="93">
                  <c:v>293</c:v>
                </c:pt>
                <c:pt idx="94">
                  <c:v>291</c:v>
                </c:pt>
                <c:pt idx="95">
                  <c:v>297</c:v>
                </c:pt>
                <c:pt idx="96">
                  <c:v>292</c:v>
                </c:pt>
                <c:pt idx="97">
                  <c:v>291</c:v>
                </c:pt>
                <c:pt idx="98">
                  <c:v>287</c:v>
                </c:pt>
                <c:pt idx="99">
                  <c:v>279</c:v>
                </c:pt>
                <c:pt idx="100">
                  <c:v>299</c:v>
                </c:pt>
                <c:pt idx="101">
                  <c:v>309</c:v>
                </c:pt>
                <c:pt idx="102">
                  <c:v>305</c:v>
                </c:pt>
                <c:pt idx="103">
                  <c:v>303</c:v>
                </c:pt>
                <c:pt idx="104">
                  <c:v>313</c:v>
                </c:pt>
                <c:pt idx="105">
                  <c:v>308</c:v>
                </c:pt>
                <c:pt idx="106">
                  <c:v>313</c:v>
                </c:pt>
                <c:pt idx="107">
                  <c:v>303</c:v>
                </c:pt>
                <c:pt idx="108">
                  <c:v>312</c:v>
                </c:pt>
                <c:pt idx="109">
                  <c:v>306</c:v>
                </c:pt>
                <c:pt idx="110">
                  <c:v>300</c:v>
                </c:pt>
                <c:pt idx="111">
                  <c:v>305</c:v>
                </c:pt>
                <c:pt idx="112">
                  <c:v>318</c:v>
                </c:pt>
                <c:pt idx="113">
                  <c:v>331</c:v>
                </c:pt>
                <c:pt idx="114">
                  <c:v>319</c:v>
                </c:pt>
                <c:pt idx="115">
                  <c:v>330</c:v>
                </c:pt>
                <c:pt idx="116">
                  <c:v>349</c:v>
                </c:pt>
                <c:pt idx="117">
                  <c:v>368</c:v>
                </c:pt>
                <c:pt idx="118">
                  <c:v>390</c:v>
                </c:pt>
                <c:pt idx="119">
                  <c:v>411</c:v>
                </c:pt>
                <c:pt idx="120">
                  <c:v>426</c:v>
                </c:pt>
                <c:pt idx="121">
                  <c:v>435</c:v>
                </c:pt>
                <c:pt idx="122">
                  <c:v>434</c:v>
                </c:pt>
                <c:pt idx="123">
                  <c:v>455</c:v>
                </c:pt>
                <c:pt idx="124">
                  <c:v>474</c:v>
                </c:pt>
                <c:pt idx="125">
                  <c:v>511</c:v>
                </c:pt>
                <c:pt idx="126">
                  <c:v>534</c:v>
                </c:pt>
                <c:pt idx="127">
                  <c:v>553</c:v>
                </c:pt>
                <c:pt idx="128">
                  <c:v>564</c:v>
                </c:pt>
                <c:pt idx="129">
                  <c:v>535</c:v>
                </c:pt>
                <c:pt idx="130">
                  <c:v>530</c:v>
                </c:pt>
                <c:pt idx="131">
                  <c:v>549</c:v>
                </c:pt>
                <c:pt idx="132">
                  <c:v>566</c:v>
                </c:pt>
                <c:pt idx="133">
                  <c:v>563</c:v>
                </c:pt>
                <c:pt idx="134">
                  <c:v>568</c:v>
                </c:pt>
                <c:pt idx="135">
                  <c:v>584</c:v>
                </c:pt>
                <c:pt idx="136">
                  <c:v>595</c:v>
                </c:pt>
                <c:pt idx="137">
                  <c:v>583</c:v>
                </c:pt>
                <c:pt idx="138">
                  <c:v>589</c:v>
                </c:pt>
                <c:pt idx="139">
                  <c:v>587</c:v>
                </c:pt>
                <c:pt idx="140">
                  <c:v>576</c:v>
                </c:pt>
                <c:pt idx="141">
                  <c:v>559</c:v>
                </c:pt>
                <c:pt idx="142">
                  <c:v>553</c:v>
                </c:pt>
                <c:pt idx="143">
                  <c:v>538</c:v>
                </c:pt>
                <c:pt idx="144">
                  <c:v>535</c:v>
                </c:pt>
                <c:pt idx="145">
                  <c:v>538</c:v>
                </c:pt>
                <c:pt idx="146">
                  <c:v>538</c:v>
                </c:pt>
                <c:pt idx="147">
                  <c:v>547</c:v>
                </c:pt>
                <c:pt idx="148">
                  <c:v>547</c:v>
                </c:pt>
                <c:pt idx="149">
                  <c:v>543</c:v>
                </c:pt>
                <c:pt idx="150">
                  <c:v>514</c:v>
                </c:pt>
                <c:pt idx="151">
                  <c:v>522</c:v>
                </c:pt>
                <c:pt idx="152">
                  <c:v>529</c:v>
                </c:pt>
                <c:pt idx="153">
                  <c:v>547</c:v>
                </c:pt>
                <c:pt idx="154">
                  <c:v>531</c:v>
                </c:pt>
                <c:pt idx="155">
                  <c:v>531</c:v>
                </c:pt>
                <c:pt idx="156">
                  <c:v>548</c:v>
                </c:pt>
                <c:pt idx="157">
                  <c:v>541</c:v>
                </c:pt>
                <c:pt idx="158">
                  <c:v>528</c:v>
                </c:pt>
                <c:pt idx="159">
                  <c:v>546</c:v>
                </c:pt>
                <c:pt idx="160">
                  <c:v>539</c:v>
                </c:pt>
                <c:pt idx="161">
                  <c:v>525</c:v>
                </c:pt>
                <c:pt idx="162">
                  <c:v>522</c:v>
                </c:pt>
                <c:pt idx="163">
                  <c:v>544</c:v>
                </c:pt>
                <c:pt idx="164">
                  <c:v>555</c:v>
                </c:pt>
                <c:pt idx="165">
                  <c:v>560</c:v>
                </c:pt>
                <c:pt idx="166">
                  <c:v>579</c:v>
                </c:pt>
                <c:pt idx="167">
                  <c:v>568</c:v>
                </c:pt>
                <c:pt idx="168">
                  <c:v>593</c:v>
                </c:pt>
                <c:pt idx="169">
                  <c:v>607</c:v>
                </c:pt>
                <c:pt idx="170">
                  <c:v>617</c:v>
                </c:pt>
                <c:pt idx="171">
                  <c:v>634</c:v>
                </c:pt>
                <c:pt idx="172">
                  <c:v>655</c:v>
                </c:pt>
                <c:pt idx="173">
                  <c:v>663</c:v>
                </c:pt>
                <c:pt idx="174">
                  <c:v>681</c:v>
                </c:pt>
                <c:pt idx="175">
                  <c:v>695</c:v>
                </c:pt>
                <c:pt idx="176">
                  <c:v>681</c:v>
                </c:pt>
                <c:pt idx="177">
                  <c:v>728</c:v>
                </c:pt>
                <c:pt idx="178">
                  <c:v>720</c:v>
                </c:pt>
                <c:pt idx="179">
                  <c:v>715</c:v>
                </c:pt>
                <c:pt idx="180">
                  <c:v>742</c:v>
                </c:pt>
                <c:pt idx="181">
                  <c:v>782</c:v>
                </c:pt>
                <c:pt idx="182">
                  <c:v>802</c:v>
                </c:pt>
                <c:pt idx="183">
                  <c:v>808</c:v>
                </c:pt>
                <c:pt idx="184">
                  <c:v>828</c:v>
                </c:pt>
                <c:pt idx="185">
                  <c:v>842</c:v>
                </c:pt>
                <c:pt idx="186">
                  <c:v>852</c:v>
                </c:pt>
                <c:pt idx="187">
                  <c:v>870</c:v>
                </c:pt>
                <c:pt idx="188">
                  <c:v>917</c:v>
                </c:pt>
                <c:pt idx="189">
                  <c:v>906</c:v>
                </c:pt>
                <c:pt idx="190">
                  <c:v>913</c:v>
                </c:pt>
                <c:pt idx="191">
                  <c:v>916</c:v>
                </c:pt>
                <c:pt idx="192">
                  <c:v>929</c:v>
                </c:pt>
                <c:pt idx="193">
                  <c:v>912</c:v>
                </c:pt>
                <c:pt idx="194">
                  <c:v>938</c:v>
                </c:pt>
                <c:pt idx="195">
                  <c:v>942</c:v>
                </c:pt>
                <c:pt idx="196">
                  <c:v>927</c:v>
                </c:pt>
                <c:pt idx="197">
                  <c:v>921</c:v>
                </c:pt>
                <c:pt idx="198">
                  <c:v>949</c:v>
                </c:pt>
                <c:pt idx="199">
                  <c:v>932</c:v>
                </c:pt>
                <c:pt idx="200">
                  <c:v>928</c:v>
                </c:pt>
                <c:pt idx="201">
                  <c:v>922</c:v>
                </c:pt>
                <c:pt idx="202">
                  <c:v>963</c:v>
                </c:pt>
                <c:pt idx="203">
                  <c:v>9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984"/>
        <c:axId val="309858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Volna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dLbls>
            <c:dLbl>
              <c:idx val="20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cs-CZ" sz="1197" b="1" i="0" u="none" strike="noStrike" kern="1200" baseline="0">
                    <a:solidFill>
                      <a:srgbClr val="FFC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bg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</c:numCache>
            </c:numRef>
          </c:cat>
          <c:val>
            <c:numRef>
              <c:f>Sheet1!$B$2:$B$205</c:f>
              <c:numCache>
                <c:formatCode>#,##0</c:formatCode>
                <c:ptCount val="204"/>
                <c:pt idx="0">
                  <c:v>1187</c:v>
                </c:pt>
                <c:pt idx="1">
                  <c:v>1160</c:v>
                </c:pt>
                <c:pt idx="2">
                  <c:v>1148</c:v>
                </c:pt>
                <c:pt idx="3">
                  <c:v>1143</c:v>
                </c:pt>
                <c:pt idx="4">
                  <c:v>1136</c:v>
                </c:pt>
                <c:pt idx="5">
                  <c:v>1139</c:v>
                </c:pt>
                <c:pt idx="6">
                  <c:v>1118</c:v>
                </c:pt>
                <c:pt idx="7">
                  <c:v>1115</c:v>
                </c:pt>
                <c:pt idx="8">
                  <c:v>1108</c:v>
                </c:pt>
                <c:pt idx="9">
                  <c:v>1094</c:v>
                </c:pt>
                <c:pt idx="10">
                  <c:v>1090</c:v>
                </c:pt>
                <c:pt idx="11">
                  <c:v>1079</c:v>
                </c:pt>
                <c:pt idx="12">
                  <c:v>1084</c:v>
                </c:pt>
                <c:pt idx="13">
                  <c:v>1080</c:v>
                </c:pt>
                <c:pt idx="14">
                  <c:v>1066</c:v>
                </c:pt>
                <c:pt idx="15">
                  <c:v>1074</c:v>
                </c:pt>
                <c:pt idx="16">
                  <c:v>1058</c:v>
                </c:pt>
                <c:pt idx="17">
                  <c:v>1041</c:v>
                </c:pt>
                <c:pt idx="18">
                  <c:v>1048</c:v>
                </c:pt>
                <c:pt idx="19">
                  <c:v>1053</c:v>
                </c:pt>
                <c:pt idx="20">
                  <c:v>1022</c:v>
                </c:pt>
                <c:pt idx="21">
                  <c:v>1013</c:v>
                </c:pt>
                <c:pt idx="22">
                  <c:v>969</c:v>
                </c:pt>
                <c:pt idx="23">
                  <c:v>965</c:v>
                </c:pt>
                <c:pt idx="24">
                  <c:v>979</c:v>
                </c:pt>
                <c:pt idx="25">
                  <c:v>994</c:v>
                </c:pt>
                <c:pt idx="26">
                  <c:v>995</c:v>
                </c:pt>
                <c:pt idx="27">
                  <c:v>989</c:v>
                </c:pt>
                <c:pt idx="28">
                  <c:v>962</c:v>
                </c:pt>
                <c:pt idx="29">
                  <c:v>952</c:v>
                </c:pt>
                <c:pt idx="30">
                  <c:v>971</c:v>
                </c:pt>
                <c:pt idx="31">
                  <c:v>961</c:v>
                </c:pt>
                <c:pt idx="32">
                  <c:v>953</c:v>
                </c:pt>
                <c:pt idx="33">
                  <c:v>958</c:v>
                </c:pt>
                <c:pt idx="34">
                  <c:v>931</c:v>
                </c:pt>
                <c:pt idx="35">
                  <c:v>907</c:v>
                </c:pt>
                <c:pt idx="36">
                  <c:v>929</c:v>
                </c:pt>
                <c:pt idx="37">
                  <c:v>937</c:v>
                </c:pt>
                <c:pt idx="38">
                  <c:v>955</c:v>
                </c:pt>
                <c:pt idx="39">
                  <c:v>943</c:v>
                </c:pt>
                <c:pt idx="40">
                  <c:v>939</c:v>
                </c:pt>
                <c:pt idx="41">
                  <c:v>918</c:v>
                </c:pt>
                <c:pt idx="42">
                  <c:v>928</c:v>
                </c:pt>
                <c:pt idx="43">
                  <c:v>904</c:v>
                </c:pt>
                <c:pt idx="44">
                  <c:v>907</c:v>
                </c:pt>
                <c:pt idx="45">
                  <c:v>898</c:v>
                </c:pt>
                <c:pt idx="46">
                  <c:v>905</c:v>
                </c:pt>
                <c:pt idx="47">
                  <c:v>905</c:v>
                </c:pt>
                <c:pt idx="48">
                  <c:v>907</c:v>
                </c:pt>
                <c:pt idx="49">
                  <c:v>922</c:v>
                </c:pt>
                <c:pt idx="50">
                  <c:v>925</c:v>
                </c:pt>
                <c:pt idx="51">
                  <c:v>943</c:v>
                </c:pt>
                <c:pt idx="52">
                  <c:v>915</c:v>
                </c:pt>
                <c:pt idx="53">
                  <c:v>927</c:v>
                </c:pt>
                <c:pt idx="54">
                  <c:v>931</c:v>
                </c:pt>
                <c:pt idx="55">
                  <c:v>914</c:v>
                </c:pt>
                <c:pt idx="56">
                  <c:v>910</c:v>
                </c:pt>
                <c:pt idx="57">
                  <c:v>906</c:v>
                </c:pt>
                <c:pt idx="58">
                  <c:v>901</c:v>
                </c:pt>
                <c:pt idx="59">
                  <c:v>881</c:v>
                </c:pt>
                <c:pt idx="60">
                  <c:v>895</c:v>
                </c:pt>
                <c:pt idx="61">
                  <c:v>882</c:v>
                </c:pt>
                <c:pt idx="62">
                  <c:v>869</c:v>
                </c:pt>
                <c:pt idx="63">
                  <c:v>846</c:v>
                </c:pt>
                <c:pt idx="64">
                  <c:v>842</c:v>
                </c:pt>
                <c:pt idx="65">
                  <c:v>838</c:v>
                </c:pt>
                <c:pt idx="66">
                  <c:v>840</c:v>
                </c:pt>
                <c:pt idx="67">
                  <c:v>853</c:v>
                </c:pt>
                <c:pt idx="68">
                  <c:v>852</c:v>
                </c:pt>
                <c:pt idx="69">
                  <c:v>853</c:v>
                </c:pt>
                <c:pt idx="70">
                  <c:v>837</c:v>
                </c:pt>
                <c:pt idx="71">
                  <c:v>821</c:v>
                </c:pt>
                <c:pt idx="72">
                  <c:v>895</c:v>
                </c:pt>
                <c:pt idx="73">
                  <c:v>890</c:v>
                </c:pt>
                <c:pt idx="74">
                  <c:v>893</c:v>
                </c:pt>
                <c:pt idx="75">
                  <c:v>904</c:v>
                </c:pt>
                <c:pt idx="76">
                  <c:v>913</c:v>
                </c:pt>
                <c:pt idx="77">
                  <c:v>935</c:v>
                </c:pt>
                <c:pt idx="78">
                  <c:v>945</c:v>
                </c:pt>
                <c:pt idx="79">
                  <c:v>961</c:v>
                </c:pt>
                <c:pt idx="80">
                  <c:v>935</c:v>
                </c:pt>
                <c:pt idx="81">
                  <c:v>943</c:v>
                </c:pt>
                <c:pt idx="82">
                  <c:v>933</c:v>
                </c:pt>
                <c:pt idx="83">
                  <c:v>925</c:v>
                </c:pt>
                <c:pt idx="84">
                  <c:v>930</c:v>
                </c:pt>
                <c:pt idx="85">
                  <c:v>938</c:v>
                </c:pt>
                <c:pt idx="86">
                  <c:v>929</c:v>
                </c:pt>
                <c:pt idx="87">
                  <c:v>956</c:v>
                </c:pt>
                <c:pt idx="88">
                  <c:v>956</c:v>
                </c:pt>
                <c:pt idx="89">
                  <c:v>974</c:v>
                </c:pt>
                <c:pt idx="90">
                  <c:v>990</c:v>
                </c:pt>
                <c:pt idx="91">
                  <c:v>995</c:v>
                </c:pt>
                <c:pt idx="92">
                  <c:v>1009</c:v>
                </c:pt>
                <c:pt idx="93">
                  <c:v>999</c:v>
                </c:pt>
                <c:pt idx="94">
                  <c:v>1024</c:v>
                </c:pt>
                <c:pt idx="95">
                  <c:v>1014</c:v>
                </c:pt>
                <c:pt idx="96">
                  <c:v>1013</c:v>
                </c:pt>
                <c:pt idx="97">
                  <c:v>993</c:v>
                </c:pt>
                <c:pt idx="98">
                  <c:v>979</c:v>
                </c:pt>
                <c:pt idx="99">
                  <c:v>998</c:v>
                </c:pt>
                <c:pt idx="100">
                  <c:v>984</c:v>
                </c:pt>
                <c:pt idx="101">
                  <c:v>995</c:v>
                </c:pt>
                <c:pt idx="102">
                  <c:v>1020</c:v>
                </c:pt>
                <c:pt idx="103">
                  <c:v>999</c:v>
                </c:pt>
                <c:pt idx="104">
                  <c:v>994</c:v>
                </c:pt>
                <c:pt idx="105">
                  <c:v>985</c:v>
                </c:pt>
                <c:pt idx="106">
                  <c:v>988</c:v>
                </c:pt>
                <c:pt idx="107">
                  <c:v>1017</c:v>
                </c:pt>
                <c:pt idx="108">
                  <c:v>1005</c:v>
                </c:pt>
                <c:pt idx="109">
                  <c:v>1002</c:v>
                </c:pt>
                <c:pt idx="110">
                  <c:v>993</c:v>
                </c:pt>
                <c:pt idx="111">
                  <c:v>966</c:v>
                </c:pt>
                <c:pt idx="112">
                  <c:v>977</c:v>
                </c:pt>
                <c:pt idx="113">
                  <c:v>987</c:v>
                </c:pt>
                <c:pt idx="114">
                  <c:v>993</c:v>
                </c:pt>
                <c:pt idx="115">
                  <c:v>1008</c:v>
                </c:pt>
                <c:pt idx="116">
                  <c:v>1004</c:v>
                </c:pt>
                <c:pt idx="117">
                  <c:v>992</c:v>
                </c:pt>
                <c:pt idx="118">
                  <c:v>957</c:v>
                </c:pt>
                <c:pt idx="119">
                  <c:v>921</c:v>
                </c:pt>
                <c:pt idx="120">
                  <c:v>915</c:v>
                </c:pt>
                <c:pt idx="121">
                  <c:v>907</c:v>
                </c:pt>
                <c:pt idx="122">
                  <c:v>901</c:v>
                </c:pt>
                <c:pt idx="123">
                  <c:v>887</c:v>
                </c:pt>
                <c:pt idx="124">
                  <c:v>845</c:v>
                </c:pt>
                <c:pt idx="125">
                  <c:v>843</c:v>
                </c:pt>
                <c:pt idx="126">
                  <c:v>808</c:v>
                </c:pt>
                <c:pt idx="127">
                  <c:v>782</c:v>
                </c:pt>
                <c:pt idx="128">
                  <c:v>767</c:v>
                </c:pt>
                <c:pt idx="129">
                  <c:v>786</c:v>
                </c:pt>
                <c:pt idx="130">
                  <c:v>786</c:v>
                </c:pt>
                <c:pt idx="131">
                  <c:v>764</c:v>
                </c:pt>
                <c:pt idx="132">
                  <c:v>759</c:v>
                </c:pt>
                <c:pt idx="133">
                  <c:v>753</c:v>
                </c:pt>
                <c:pt idx="134">
                  <c:v>746</c:v>
                </c:pt>
                <c:pt idx="135">
                  <c:v>753</c:v>
                </c:pt>
                <c:pt idx="136">
                  <c:v>749</c:v>
                </c:pt>
                <c:pt idx="137">
                  <c:v>753</c:v>
                </c:pt>
                <c:pt idx="138">
                  <c:v>758</c:v>
                </c:pt>
                <c:pt idx="139">
                  <c:v>763</c:v>
                </c:pt>
                <c:pt idx="140">
                  <c:v>753</c:v>
                </c:pt>
                <c:pt idx="141">
                  <c:v>788</c:v>
                </c:pt>
                <c:pt idx="142">
                  <c:v>791</c:v>
                </c:pt>
                <c:pt idx="143">
                  <c:v>800</c:v>
                </c:pt>
                <c:pt idx="144">
                  <c:v>778</c:v>
                </c:pt>
                <c:pt idx="145">
                  <c:v>792</c:v>
                </c:pt>
                <c:pt idx="146">
                  <c:v>798</c:v>
                </c:pt>
                <c:pt idx="147">
                  <c:v>802</c:v>
                </c:pt>
                <c:pt idx="148">
                  <c:v>795</c:v>
                </c:pt>
                <c:pt idx="149">
                  <c:v>802</c:v>
                </c:pt>
                <c:pt idx="150">
                  <c:v>821</c:v>
                </c:pt>
                <c:pt idx="151">
                  <c:v>826</c:v>
                </c:pt>
                <c:pt idx="152">
                  <c:v>850</c:v>
                </c:pt>
                <c:pt idx="153">
                  <c:v>830</c:v>
                </c:pt>
                <c:pt idx="154">
                  <c:v>818</c:v>
                </c:pt>
                <c:pt idx="155">
                  <c:v>821</c:v>
                </c:pt>
                <c:pt idx="156">
                  <c:v>816</c:v>
                </c:pt>
                <c:pt idx="157">
                  <c:v>832</c:v>
                </c:pt>
                <c:pt idx="158">
                  <c:v>826</c:v>
                </c:pt>
                <c:pt idx="159">
                  <c:v>821</c:v>
                </c:pt>
                <c:pt idx="160">
                  <c:v>786</c:v>
                </c:pt>
                <c:pt idx="161">
                  <c:v>811</c:v>
                </c:pt>
                <c:pt idx="162">
                  <c:v>803</c:v>
                </c:pt>
                <c:pt idx="163">
                  <c:v>787</c:v>
                </c:pt>
                <c:pt idx="164">
                  <c:v>794</c:v>
                </c:pt>
                <c:pt idx="165">
                  <c:v>782</c:v>
                </c:pt>
                <c:pt idx="166">
                  <c:v>768</c:v>
                </c:pt>
                <c:pt idx="167">
                  <c:v>753</c:v>
                </c:pt>
                <c:pt idx="168">
                  <c:v>742</c:v>
                </c:pt>
                <c:pt idx="169">
                  <c:v>731</c:v>
                </c:pt>
                <c:pt idx="170">
                  <c:v>714</c:v>
                </c:pt>
                <c:pt idx="171">
                  <c:v>702</c:v>
                </c:pt>
                <c:pt idx="172">
                  <c:v>704</c:v>
                </c:pt>
                <c:pt idx="173">
                  <c:v>700</c:v>
                </c:pt>
                <c:pt idx="174">
                  <c:v>700</c:v>
                </c:pt>
                <c:pt idx="175">
                  <c:v>709</c:v>
                </c:pt>
                <c:pt idx="176">
                  <c:v>701</c:v>
                </c:pt>
                <c:pt idx="177">
                  <c:v>688</c:v>
                </c:pt>
                <c:pt idx="178">
                  <c:v>711</c:v>
                </c:pt>
                <c:pt idx="179">
                  <c:v>700</c:v>
                </c:pt>
                <c:pt idx="180">
                  <c:v>669</c:v>
                </c:pt>
                <c:pt idx="181">
                  <c:v>666</c:v>
                </c:pt>
                <c:pt idx="182">
                  <c:v>656</c:v>
                </c:pt>
                <c:pt idx="183">
                  <c:v>661</c:v>
                </c:pt>
                <c:pt idx="184">
                  <c:v>664</c:v>
                </c:pt>
                <c:pt idx="185">
                  <c:v>675</c:v>
                </c:pt>
                <c:pt idx="186">
                  <c:v>654</c:v>
                </c:pt>
                <c:pt idx="187">
                  <c:v>631</c:v>
                </c:pt>
                <c:pt idx="188">
                  <c:v>631</c:v>
                </c:pt>
                <c:pt idx="189">
                  <c:v>631</c:v>
                </c:pt>
                <c:pt idx="190">
                  <c:v>605</c:v>
                </c:pt>
                <c:pt idx="191">
                  <c:v>589</c:v>
                </c:pt>
                <c:pt idx="192">
                  <c:v>605</c:v>
                </c:pt>
                <c:pt idx="193">
                  <c:v>575</c:v>
                </c:pt>
                <c:pt idx="194">
                  <c:v>572</c:v>
                </c:pt>
                <c:pt idx="195">
                  <c:v>591</c:v>
                </c:pt>
                <c:pt idx="196">
                  <c:v>567</c:v>
                </c:pt>
                <c:pt idx="197">
                  <c:v>571</c:v>
                </c:pt>
                <c:pt idx="198">
                  <c:v>565</c:v>
                </c:pt>
                <c:pt idx="199">
                  <c:v>568</c:v>
                </c:pt>
                <c:pt idx="200">
                  <c:v>561</c:v>
                </c:pt>
                <c:pt idx="201">
                  <c:v>555</c:v>
                </c:pt>
                <c:pt idx="202">
                  <c:v>553</c:v>
                </c:pt>
                <c:pt idx="203">
                  <c:v>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158F-4D66-9C17-755B1D8C84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05</c:f>
              <c:numCache>
                <c:formatCode>m/d/yyyy</c:formatCode>
                <c:ptCount val="2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</c:numCache>
            </c:numRef>
          </c:cat>
          <c:val>
            <c:numRef>
              <c:f>Sheet1!$C$2:$C$205</c:f>
              <c:numCache>
                <c:formatCode>General</c:formatCode>
                <c:ptCount val="20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A-158F-4D66-9C17-755B1D8C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984"/>
        <c:axId val="309858376"/>
      </c:lineChart>
      <c:dateAx>
        <c:axId val="3098579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cs-CZ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8376"/>
        <c:crosses val="autoZero"/>
        <c:auto val="1"/>
        <c:lblOffset val="100"/>
        <c:baseTimeUnit val="days"/>
        <c:majorUnit val="1"/>
        <c:majorTimeUnit val="months"/>
      </c:dateAx>
      <c:valAx>
        <c:axId val="3098583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cs-CZ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04574384407295"/>
          <c:y val="4.627551316267748E-2"/>
          <c:w val="0.83193544996894264"/>
          <c:h val="0.719982829752898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luzkaKysli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05</c:f>
              <c:numCache>
                <c:formatCode>m/d/yyyy</c:formatCode>
                <c:ptCount val="2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</c:numCache>
            </c:numRef>
          </c:cat>
          <c:val>
            <c:numRef>
              <c:f>Sheet1!$D$2:$D$205</c:f>
              <c:numCache>
                <c:formatCode>#,##0</c:formatCode>
                <c:ptCount val="204"/>
                <c:pt idx="0">
                  <c:v>60</c:v>
                </c:pt>
                <c:pt idx="1">
                  <c:v>53</c:v>
                </c:pt>
                <c:pt idx="2">
                  <c:v>55</c:v>
                </c:pt>
                <c:pt idx="3">
                  <c:v>56</c:v>
                </c:pt>
                <c:pt idx="4">
                  <c:v>67</c:v>
                </c:pt>
                <c:pt idx="5">
                  <c:v>74</c:v>
                </c:pt>
                <c:pt idx="6">
                  <c:v>85</c:v>
                </c:pt>
                <c:pt idx="7">
                  <c:v>86</c:v>
                </c:pt>
                <c:pt idx="8">
                  <c:v>102</c:v>
                </c:pt>
                <c:pt idx="9">
                  <c:v>103</c:v>
                </c:pt>
                <c:pt idx="10">
                  <c:v>123</c:v>
                </c:pt>
                <c:pt idx="11">
                  <c:v>118</c:v>
                </c:pt>
                <c:pt idx="12">
                  <c:v>131</c:v>
                </c:pt>
                <c:pt idx="13">
                  <c:v>135</c:v>
                </c:pt>
                <c:pt idx="14">
                  <c:v>145</c:v>
                </c:pt>
                <c:pt idx="15">
                  <c:v>166</c:v>
                </c:pt>
                <c:pt idx="16">
                  <c:v>193</c:v>
                </c:pt>
                <c:pt idx="17">
                  <c:v>206</c:v>
                </c:pt>
                <c:pt idx="18">
                  <c:v>221</c:v>
                </c:pt>
                <c:pt idx="19">
                  <c:v>233</c:v>
                </c:pt>
                <c:pt idx="20">
                  <c:v>267</c:v>
                </c:pt>
                <c:pt idx="21">
                  <c:v>270</c:v>
                </c:pt>
                <c:pt idx="22">
                  <c:v>307</c:v>
                </c:pt>
                <c:pt idx="23">
                  <c:v>347</c:v>
                </c:pt>
                <c:pt idx="24">
                  <c:v>382</c:v>
                </c:pt>
                <c:pt idx="25">
                  <c:v>401</c:v>
                </c:pt>
                <c:pt idx="26">
                  <c:v>412</c:v>
                </c:pt>
                <c:pt idx="27">
                  <c:v>443</c:v>
                </c:pt>
                <c:pt idx="28">
                  <c:v>469</c:v>
                </c:pt>
                <c:pt idx="29">
                  <c:v>500</c:v>
                </c:pt>
                <c:pt idx="30">
                  <c:v>535</c:v>
                </c:pt>
                <c:pt idx="31">
                  <c:v>569</c:v>
                </c:pt>
                <c:pt idx="32">
                  <c:v>599</c:v>
                </c:pt>
                <c:pt idx="33">
                  <c:v>625</c:v>
                </c:pt>
                <c:pt idx="34">
                  <c:v>691</c:v>
                </c:pt>
                <c:pt idx="35">
                  <c:v>735</c:v>
                </c:pt>
                <c:pt idx="36">
                  <c:v>816</c:v>
                </c:pt>
                <c:pt idx="37">
                  <c:v>896</c:v>
                </c:pt>
                <c:pt idx="38">
                  <c:v>964</c:v>
                </c:pt>
                <c:pt idx="39">
                  <c:v>1023</c:v>
                </c:pt>
                <c:pt idx="40">
                  <c:v>1092</c:v>
                </c:pt>
                <c:pt idx="41">
                  <c:v>1177</c:v>
                </c:pt>
                <c:pt idx="42">
                  <c:v>1194</c:v>
                </c:pt>
                <c:pt idx="43">
                  <c:v>1320</c:v>
                </c:pt>
                <c:pt idx="44">
                  <c:v>1501</c:v>
                </c:pt>
                <c:pt idx="45">
                  <c:v>1604</c:v>
                </c:pt>
                <c:pt idx="46">
                  <c:v>1671</c:v>
                </c:pt>
                <c:pt idx="47">
                  <c:v>1774</c:v>
                </c:pt>
                <c:pt idx="48">
                  <c:v>1895</c:v>
                </c:pt>
                <c:pt idx="49">
                  <c:v>2033</c:v>
                </c:pt>
                <c:pt idx="50">
                  <c:v>2182</c:v>
                </c:pt>
                <c:pt idx="51">
                  <c:v>2316</c:v>
                </c:pt>
                <c:pt idx="52">
                  <c:v>2378</c:v>
                </c:pt>
                <c:pt idx="53">
                  <c:v>2493</c:v>
                </c:pt>
                <c:pt idx="54">
                  <c:v>2630</c:v>
                </c:pt>
                <c:pt idx="55">
                  <c:v>2835</c:v>
                </c:pt>
                <c:pt idx="56">
                  <c:v>2971</c:v>
                </c:pt>
                <c:pt idx="57">
                  <c:v>3034</c:v>
                </c:pt>
                <c:pt idx="58">
                  <c:v>3250</c:v>
                </c:pt>
                <c:pt idx="59">
                  <c:v>3296</c:v>
                </c:pt>
                <c:pt idx="60">
                  <c:v>3357</c:v>
                </c:pt>
                <c:pt idx="61">
                  <c:v>3441</c:v>
                </c:pt>
                <c:pt idx="62">
                  <c:v>3560</c:v>
                </c:pt>
                <c:pt idx="63">
                  <c:v>3581</c:v>
                </c:pt>
                <c:pt idx="64">
                  <c:v>3557</c:v>
                </c:pt>
                <c:pt idx="65">
                  <c:v>3485</c:v>
                </c:pt>
                <c:pt idx="66">
                  <c:v>3423</c:v>
                </c:pt>
                <c:pt idx="67">
                  <c:v>3349</c:v>
                </c:pt>
                <c:pt idx="68">
                  <c:v>3355</c:v>
                </c:pt>
                <c:pt idx="69">
                  <c:v>3292</c:v>
                </c:pt>
                <c:pt idx="70">
                  <c:v>3196</c:v>
                </c:pt>
                <c:pt idx="71">
                  <c:v>2968</c:v>
                </c:pt>
                <c:pt idx="72">
                  <c:v>2891</c:v>
                </c:pt>
                <c:pt idx="73">
                  <c:v>2750</c:v>
                </c:pt>
                <c:pt idx="74">
                  <c:v>2630</c:v>
                </c:pt>
                <c:pt idx="75">
                  <c:v>2555</c:v>
                </c:pt>
                <c:pt idx="76">
                  <c:v>2561</c:v>
                </c:pt>
                <c:pt idx="77">
                  <c:v>2486</c:v>
                </c:pt>
                <c:pt idx="78">
                  <c:v>2443</c:v>
                </c:pt>
                <c:pt idx="79">
                  <c:v>2364</c:v>
                </c:pt>
                <c:pt idx="80">
                  <c:v>2267</c:v>
                </c:pt>
                <c:pt idx="81">
                  <c:v>2144</c:v>
                </c:pt>
                <c:pt idx="82">
                  <c:v>2129</c:v>
                </c:pt>
                <c:pt idx="83">
                  <c:v>2158</c:v>
                </c:pt>
                <c:pt idx="84">
                  <c:v>2096</c:v>
                </c:pt>
                <c:pt idx="85">
                  <c:v>2023</c:v>
                </c:pt>
                <c:pt idx="86">
                  <c:v>1933</c:v>
                </c:pt>
                <c:pt idx="87">
                  <c:v>1810</c:v>
                </c:pt>
                <c:pt idx="88">
                  <c:v>1505</c:v>
                </c:pt>
                <c:pt idx="89">
                  <c:v>1545</c:v>
                </c:pt>
                <c:pt idx="90">
                  <c:v>1541</c:v>
                </c:pt>
                <c:pt idx="91">
                  <c:v>1531</c:v>
                </c:pt>
                <c:pt idx="92">
                  <c:v>1472</c:v>
                </c:pt>
                <c:pt idx="93">
                  <c:v>1465</c:v>
                </c:pt>
                <c:pt idx="94">
                  <c:v>1495</c:v>
                </c:pt>
                <c:pt idx="95">
                  <c:v>1480</c:v>
                </c:pt>
                <c:pt idx="96">
                  <c:v>1507</c:v>
                </c:pt>
                <c:pt idx="97">
                  <c:v>1556</c:v>
                </c:pt>
                <c:pt idx="98">
                  <c:v>1526</c:v>
                </c:pt>
                <c:pt idx="99">
                  <c:v>1570</c:v>
                </c:pt>
                <c:pt idx="100">
                  <c:v>1590</c:v>
                </c:pt>
                <c:pt idx="101">
                  <c:v>1561</c:v>
                </c:pt>
                <c:pt idx="102">
                  <c:v>1603</c:v>
                </c:pt>
                <c:pt idx="103">
                  <c:v>1641</c:v>
                </c:pt>
                <c:pt idx="104">
                  <c:v>1681</c:v>
                </c:pt>
                <c:pt idx="105">
                  <c:v>1705</c:v>
                </c:pt>
                <c:pt idx="106">
                  <c:v>1690</c:v>
                </c:pt>
                <c:pt idx="107">
                  <c:v>1652</c:v>
                </c:pt>
                <c:pt idx="108">
                  <c:v>1655</c:v>
                </c:pt>
                <c:pt idx="109">
                  <c:v>1647</c:v>
                </c:pt>
                <c:pt idx="110">
                  <c:v>1681</c:v>
                </c:pt>
                <c:pt idx="111">
                  <c:v>1681</c:v>
                </c:pt>
                <c:pt idx="112">
                  <c:v>1714</c:v>
                </c:pt>
                <c:pt idx="113">
                  <c:v>1737</c:v>
                </c:pt>
                <c:pt idx="114">
                  <c:v>1645</c:v>
                </c:pt>
                <c:pt idx="115">
                  <c:v>1747</c:v>
                </c:pt>
                <c:pt idx="116">
                  <c:v>1860</c:v>
                </c:pt>
                <c:pt idx="117">
                  <c:v>1984</c:v>
                </c:pt>
                <c:pt idx="118">
                  <c:v>2294</c:v>
                </c:pt>
                <c:pt idx="119">
                  <c:v>2352</c:v>
                </c:pt>
                <c:pt idx="120">
                  <c:v>2477</c:v>
                </c:pt>
                <c:pt idx="121">
                  <c:v>2498</c:v>
                </c:pt>
                <c:pt idx="122">
                  <c:v>2497</c:v>
                </c:pt>
                <c:pt idx="123">
                  <c:v>2683</c:v>
                </c:pt>
                <c:pt idx="124">
                  <c:v>2800</c:v>
                </c:pt>
                <c:pt idx="125">
                  <c:v>3023</c:v>
                </c:pt>
                <c:pt idx="126">
                  <c:v>3051</c:v>
                </c:pt>
                <c:pt idx="127">
                  <c:v>3085</c:v>
                </c:pt>
                <c:pt idx="128">
                  <c:v>3078</c:v>
                </c:pt>
                <c:pt idx="129">
                  <c:v>2934</c:v>
                </c:pt>
                <c:pt idx="130">
                  <c:v>2966</c:v>
                </c:pt>
                <c:pt idx="131">
                  <c:v>2974</c:v>
                </c:pt>
                <c:pt idx="132">
                  <c:v>2977</c:v>
                </c:pt>
                <c:pt idx="133">
                  <c:v>3045</c:v>
                </c:pt>
                <c:pt idx="134">
                  <c:v>2967</c:v>
                </c:pt>
                <c:pt idx="135">
                  <c:v>2927</c:v>
                </c:pt>
                <c:pt idx="136">
                  <c:v>2876</c:v>
                </c:pt>
                <c:pt idx="137">
                  <c:v>2762</c:v>
                </c:pt>
                <c:pt idx="138">
                  <c:v>2748</c:v>
                </c:pt>
                <c:pt idx="139">
                  <c:v>2704</c:v>
                </c:pt>
                <c:pt idx="140">
                  <c:v>2641</c:v>
                </c:pt>
                <c:pt idx="141">
                  <c:v>2596</c:v>
                </c:pt>
                <c:pt idx="142">
                  <c:v>2587</c:v>
                </c:pt>
                <c:pt idx="143">
                  <c:v>2554</c:v>
                </c:pt>
                <c:pt idx="144">
                  <c:v>2519</c:v>
                </c:pt>
                <c:pt idx="145">
                  <c:v>2521</c:v>
                </c:pt>
                <c:pt idx="146">
                  <c:v>2544</c:v>
                </c:pt>
                <c:pt idx="147">
                  <c:v>2526</c:v>
                </c:pt>
                <c:pt idx="148">
                  <c:v>2418</c:v>
                </c:pt>
                <c:pt idx="149">
                  <c:v>2360</c:v>
                </c:pt>
                <c:pt idx="150">
                  <c:v>2343</c:v>
                </c:pt>
                <c:pt idx="151">
                  <c:v>2378</c:v>
                </c:pt>
                <c:pt idx="152">
                  <c:v>2374</c:v>
                </c:pt>
                <c:pt idx="153">
                  <c:v>2459</c:v>
                </c:pt>
                <c:pt idx="154">
                  <c:v>2395</c:v>
                </c:pt>
                <c:pt idx="155">
                  <c:v>2417</c:v>
                </c:pt>
                <c:pt idx="156">
                  <c:v>2397</c:v>
                </c:pt>
                <c:pt idx="157">
                  <c:v>2372</c:v>
                </c:pt>
                <c:pt idx="158">
                  <c:v>2352</c:v>
                </c:pt>
                <c:pt idx="159">
                  <c:v>2414</c:v>
                </c:pt>
                <c:pt idx="160">
                  <c:v>2478</c:v>
                </c:pt>
                <c:pt idx="161">
                  <c:v>2493</c:v>
                </c:pt>
                <c:pt idx="162">
                  <c:v>2421</c:v>
                </c:pt>
                <c:pt idx="163">
                  <c:v>2457</c:v>
                </c:pt>
                <c:pt idx="164">
                  <c:v>2409</c:v>
                </c:pt>
                <c:pt idx="165">
                  <c:v>2474</c:v>
                </c:pt>
                <c:pt idx="166">
                  <c:v>2591</c:v>
                </c:pt>
                <c:pt idx="167">
                  <c:v>2623</c:v>
                </c:pt>
                <c:pt idx="168">
                  <c:v>2655</c:v>
                </c:pt>
                <c:pt idx="169">
                  <c:v>2720</c:v>
                </c:pt>
                <c:pt idx="170">
                  <c:v>2761</c:v>
                </c:pt>
                <c:pt idx="171">
                  <c:v>2679</c:v>
                </c:pt>
                <c:pt idx="172">
                  <c:v>2683</c:v>
                </c:pt>
                <c:pt idx="173">
                  <c:v>2806</c:v>
                </c:pt>
                <c:pt idx="174">
                  <c:v>2999</c:v>
                </c:pt>
                <c:pt idx="175">
                  <c:v>3020</c:v>
                </c:pt>
                <c:pt idx="176">
                  <c:v>3032</c:v>
                </c:pt>
                <c:pt idx="177">
                  <c:v>3044</c:v>
                </c:pt>
                <c:pt idx="178">
                  <c:v>3128</c:v>
                </c:pt>
                <c:pt idx="179">
                  <c:v>3236</c:v>
                </c:pt>
                <c:pt idx="180">
                  <c:v>3377</c:v>
                </c:pt>
                <c:pt idx="181">
                  <c:v>3584</c:v>
                </c:pt>
                <c:pt idx="182">
                  <c:v>3627</c:v>
                </c:pt>
                <c:pt idx="183">
                  <c:v>3605</c:v>
                </c:pt>
                <c:pt idx="184">
                  <c:v>3686</c:v>
                </c:pt>
                <c:pt idx="185">
                  <c:v>3709</c:v>
                </c:pt>
                <c:pt idx="186">
                  <c:v>3799</c:v>
                </c:pt>
                <c:pt idx="187">
                  <c:v>3882</c:v>
                </c:pt>
                <c:pt idx="188">
                  <c:v>3929</c:v>
                </c:pt>
                <c:pt idx="189">
                  <c:v>3945</c:v>
                </c:pt>
                <c:pt idx="190">
                  <c:v>3955</c:v>
                </c:pt>
                <c:pt idx="191">
                  <c:v>3934</c:v>
                </c:pt>
                <c:pt idx="192">
                  <c:v>3865</c:v>
                </c:pt>
                <c:pt idx="193">
                  <c:v>3980</c:v>
                </c:pt>
                <c:pt idx="194">
                  <c:v>4049</c:v>
                </c:pt>
                <c:pt idx="195">
                  <c:v>4196</c:v>
                </c:pt>
                <c:pt idx="196">
                  <c:v>4125</c:v>
                </c:pt>
                <c:pt idx="197">
                  <c:v>4043</c:v>
                </c:pt>
                <c:pt idx="198">
                  <c:v>4013</c:v>
                </c:pt>
                <c:pt idx="199">
                  <c:v>3795</c:v>
                </c:pt>
                <c:pt idx="200">
                  <c:v>3717</c:v>
                </c:pt>
                <c:pt idx="201">
                  <c:v>3797</c:v>
                </c:pt>
                <c:pt idx="202">
                  <c:v>3836</c:v>
                </c:pt>
                <c:pt idx="203">
                  <c:v>36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2104"/>
        <c:axId val="30985288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dLuzekKyslikDOSTUP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03"/>
              <c:layout>
                <c:manualLayout>
                  <c:x val="-2.5757087677870098E-2"/>
                  <c:y val="-6.7358568222030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</c:numCache>
            </c:numRef>
          </c:cat>
          <c:val>
            <c:numRef>
              <c:f>Sheet1!$B$2:$B$205</c:f>
              <c:numCache>
                <c:formatCode>#,##0</c:formatCode>
                <c:ptCount val="204"/>
                <c:pt idx="0">
                  <c:v>8160</c:v>
                </c:pt>
                <c:pt idx="1">
                  <c:v>8175</c:v>
                </c:pt>
                <c:pt idx="2">
                  <c:v>7876</c:v>
                </c:pt>
                <c:pt idx="3">
                  <c:v>8034</c:v>
                </c:pt>
                <c:pt idx="4">
                  <c:v>8049</c:v>
                </c:pt>
                <c:pt idx="5">
                  <c:v>8080</c:v>
                </c:pt>
                <c:pt idx="6">
                  <c:v>7818</c:v>
                </c:pt>
                <c:pt idx="7">
                  <c:v>7658</c:v>
                </c:pt>
                <c:pt idx="8">
                  <c:v>7288</c:v>
                </c:pt>
                <c:pt idx="9">
                  <c:v>6975</c:v>
                </c:pt>
                <c:pt idx="10">
                  <c:v>7427</c:v>
                </c:pt>
                <c:pt idx="11">
                  <c:v>7828</c:v>
                </c:pt>
                <c:pt idx="12">
                  <c:v>7802</c:v>
                </c:pt>
                <c:pt idx="13">
                  <c:v>7675</c:v>
                </c:pt>
                <c:pt idx="14">
                  <c:v>7313</c:v>
                </c:pt>
                <c:pt idx="15">
                  <c:v>7258</c:v>
                </c:pt>
                <c:pt idx="16">
                  <c:v>6887</c:v>
                </c:pt>
                <c:pt idx="17">
                  <c:v>7283</c:v>
                </c:pt>
                <c:pt idx="18">
                  <c:v>7517</c:v>
                </c:pt>
                <c:pt idx="19">
                  <c:v>7553</c:v>
                </c:pt>
                <c:pt idx="20">
                  <c:v>7203</c:v>
                </c:pt>
                <c:pt idx="21">
                  <c:v>6738</c:v>
                </c:pt>
                <c:pt idx="22">
                  <c:v>6476</c:v>
                </c:pt>
                <c:pt idx="23">
                  <c:v>6259</c:v>
                </c:pt>
                <c:pt idx="24">
                  <c:v>6782</c:v>
                </c:pt>
                <c:pt idx="25">
                  <c:v>7421</c:v>
                </c:pt>
                <c:pt idx="26">
                  <c:v>7562</c:v>
                </c:pt>
                <c:pt idx="27">
                  <c:v>7541</c:v>
                </c:pt>
                <c:pt idx="28">
                  <c:v>6717</c:v>
                </c:pt>
                <c:pt idx="29">
                  <c:v>6671</c:v>
                </c:pt>
                <c:pt idx="30">
                  <c:v>6463</c:v>
                </c:pt>
                <c:pt idx="31">
                  <c:v>6721</c:v>
                </c:pt>
                <c:pt idx="32">
                  <c:v>6964</c:v>
                </c:pt>
                <c:pt idx="33">
                  <c:v>7156</c:v>
                </c:pt>
                <c:pt idx="34">
                  <c:v>6765</c:v>
                </c:pt>
                <c:pt idx="35">
                  <c:v>6512</c:v>
                </c:pt>
                <c:pt idx="36">
                  <c:v>6743</c:v>
                </c:pt>
                <c:pt idx="37">
                  <c:v>6777</c:v>
                </c:pt>
                <c:pt idx="38">
                  <c:v>7265</c:v>
                </c:pt>
                <c:pt idx="39">
                  <c:v>7755</c:v>
                </c:pt>
                <c:pt idx="40">
                  <c:v>7663</c:v>
                </c:pt>
                <c:pt idx="41">
                  <c:v>7401</c:v>
                </c:pt>
                <c:pt idx="42">
                  <c:v>7339</c:v>
                </c:pt>
                <c:pt idx="43">
                  <c:v>7219</c:v>
                </c:pt>
                <c:pt idx="44">
                  <c:v>7063</c:v>
                </c:pt>
                <c:pt idx="45">
                  <c:v>7500</c:v>
                </c:pt>
                <c:pt idx="46">
                  <c:v>7888</c:v>
                </c:pt>
                <c:pt idx="47">
                  <c:v>7577</c:v>
                </c:pt>
                <c:pt idx="48">
                  <c:v>7670</c:v>
                </c:pt>
                <c:pt idx="49">
                  <c:v>7640</c:v>
                </c:pt>
                <c:pt idx="50">
                  <c:v>7733</c:v>
                </c:pt>
                <c:pt idx="51">
                  <c:v>7555</c:v>
                </c:pt>
                <c:pt idx="52">
                  <c:v>7863</c:v>
                </c:pt>
                <c:pt idx="53">
                  <c:v>7943</c:v>
                </c:pt>
                <c:pt idx="54">
                  <c:v>7872</c:v>
                </c:pt>
                <c:pt idx="55">
                  <c:v>7618</c:v>
                </c:pt>
                <c:pt idx="56">
                  <c:v>7794</c:v>
                </c:pt>
                <c:pt idx="57">
                  <c:v>7657</c:v>
                </c:pt>
                <c:pt idx="58">
                  <c:v>7480</c:v>
                </c:pt>
                <c:pt idx="59">
                  <c:v>8298</c:v>
                </c:pt>
                <c:pt idx="60">
                  <c:v>8287</c:v>
                </c:pt>
                <c:pt idx="61">
                  <c:v>8194</c:v>
                </c:pt>
                <c:pt idx="62">
                  <c:v>7915</c:v>
                </c:pt>
                <c:pt idx="63">
                  <c:v>7770</c:v>
                </c:pt>
                <c:pt idx="64">
                  <c:v>7813</c:v>
                </c:pt>
                <c:pt idx="65">
                  <c:v>7901</c:v>
                </c:pt>
                <c:pt idx="66">
                  <c:v>8188</c:v>
                </c:pt>
                <c:pt idx="67">
                  <c:v>8557</c:v>
                </c:pt>
                <c:pt idx="68">
                  <c:v>8478</c:v>
                </c:pt>
                <c:pt idx="69">
                  <c:v>8233</c:v>
                </c:pt>
                <c:pt idx="70">
                  <c:v>8097</c:v>
                </c:pt>
                <c:pt idx="71">
                  <c:v>8225</c:v>
                </c:pt>
                <c:pt idx="72">
                  <c:v>8193</c:v>
                </c:pt>
                <c:pt idx="73">
                  <c:v>8508</c:v>
                </c:pt>
                <c:pt idx="74">
                  <c:v>8817</c:v>
                </c:pt>
                <c:pt idx="75">
                  <c:v>8908</c:v>
                </c:pt>
                <c:pt idx="76">
                  <c:v>8786</c:v>
                </c:pt>
                <c:pt idx="77">
                  <c:v>8999</c:v>
                </c:pt>
                <c:pt idx="78">
                  <c:v>8746</c:v>
                </c:pt>
                <c:pt idx="79">
                  <c:v>8524</c:v>
                </c:pt>
                <c:pt idx="80">
                  <c:v>8795</c:v>
                </c:pt>
                <c:pt idx="81">
                  <c:v>9148</c:v>
                </c:pt>
                <c:pt idx="82">
                  <c:v>9111</c:v>
                </c:pt>
                <c:pt idx="83">
                  <c:v>8680</c:v>
                </c:pt>
                <c:pt idx="84">
                  <c:v>8545</c:v>
                </c:pt>
                <c:pt idx="85">
                  <c:v>8285</c:v>
                </c:pt>
                <c:pt idx="86">
                  <c:v>8393</c:v>
                </c:pt>
                <c:pt idx="87">
                  <c:v>8445</c:v>
                </c:pt>
                <c:pt idx="88">
                  <c:v>8785</c:v>
                </c:pt>
                <c:pt idx="89">
                  <c:v>8610</c:v>
                </c:pt>
                <c:pt idx="90">
                  <c:v>8366</c:v>
                </c:pt>
                <c:pt idx="91">
                  <c:v>8163</c:v>
                </c:pt>
                <c:pt idx="92">
                  <c:v>8044</c:v>
                </c:pt>
                <c:pt idx="93">
                  <c:v>7897</c:v>
                </c:pt>
                <c:pt idx="94">
                  <c:v>8142</c:v>
                </c:pt>
                <c:pt idx="95">
                  <c:v>8447</c:v>
                </c:pt>
                <c:pt idx="96">
                  <c:v>8323</c:v>
                </c:pt>
                <c:pt idx="97">
                  <c:v>7948</c:v>
                </c:pt>
                <c:pt idx="98">
                  <c:v>7546</c:v>
                </c:pt>
                <c:pt idx="99">
                  <c:v>7391</c:v>
                </c:pt>
                <c:pt idx="100">
                  <c:v>7102</c:v>
                </c:pt>
                <c:pt idx="101">
                  <c:v>7485</c:v>
                </c:pt>
                <c:pt idx="102">
                  <c:v>7884</c:v>
                </c:pt>
                <c:pt idx="103">
                  <c:v>7908</c:v>
                </c:pt>
                <c:pt idx="104">
                  <c:v>7500</c:v>
                </c:pt>
                <c:pt idx="105">
                  <c:v>7396</c:v>
                </c:pt>
                <c:pt idx="106">
                  <c:v>7217</c:v>
                </c:pt>
                <c:pt idx="107">
                  <c:v>7305</c:v>
                </c:pt>
                <c:pt idx="108">
                  <c:v>7602</c:v>
                </c:pt>
                <c:pt idx="109">
                  <c:v>8225</c:v>
                </c:pt>
                <c:pt idx="110">
                  <c:v>8134</c:v>
                </c:pt>
                <c:pt idx="111">
                  <c:v>7923</c:v>
                </c:pt>
                <c:pt idx="112">
                  <c:v>8267</c:v>
                </c:pt>
                <c:pt idx="113">
                  <c:v>9129</c:v>
                </c:pt>
                <c:pt idx="114">
                  <c:v>9627</c:v>
                </c:pt>
                <c:pt idx="115">
                  <c:v>9654</c:v>
                </c:pt>
                <c:pt idx="116">
                  <c:v>9316</c:v>
                </c:pt>
                <c:pt idx="117">
                  <c:v>8772</c:v>
                </c:pt>
                <c:pt idx="118">
                  <c:v>7864</c:v>
                </c:pt>
                <c:pt idx="119">
                  <c:v>7547</c:v>
                </c:pt>
                <c:pt idx="120">
                  <c:v>7497</c:v>
                </c:pt>
                <c:pt idx="121">
                  <c:v>7820</c:v>
                </c:pt>
                <c:pt idx="122">
                  <c:v>8092</c:v>
                </c:pt>
                <c:pt idx="123">
                  <c:v>7759</c:v>
                </c:pt>
                <c:pt idx="124">
                  <c:v>7208</c:v>
                </c:pt>
                <c:pt idx="125">
                  <c:v>6699</c:v>
                </c:pt>
                <c:pt idx="126">
                  <c:v>6554</c:v>
                </c:pt>
                <c:pt idx="127">
                  <c:v>6545</c:v>
                </c:pt>
                <c:pt idx="128">
                  <c:v>6569</c:v>
                </c:pt>
                <c:pt idx="129">
                  <c:v>6823</c:v>
                </c:pt>
                <c:pt idx="130">
                  <c:v>7416</c:v>
                </c:pt>
                <c:pt idx="131">
                  <c:v>7221</c:v>
                </c:pt>
                <c:pt idx="132">
                  <c:v>6826</c:v>
                </c:pt>
                <c:pt idx="133">
                  <c:v>6780</c:v>
                </c:pt>
                <c:pt idx="134">
                  <c:v>6975</c:v>
                </c:pt>
                <c:pt idx="135">
                  <c:v>6906</c:v>
                </c:pt>
                <c:pt idx="136">
                  <c:v>7299</c:v>
                </c:pt>
                <c:pt idx="137">
                  <c:v>7643</c:v>
                </c:pt>
                <c:pt idx="138">
                  <c:v>7523</c:v>
                </c:pt>
                <c:pt idx="139">
                  <c:v>7270</c:v>
                </c:pt>
                <c:pt idx="140">
                  <c:v>7323</c:v>
                </c:pt>
                <c:pt idx="141">
                  <c:v>7376</c:v>
                </c:pt>
                <c:pt idx="142">
                  <c:v>7254</c:v>
                </c:pt>
                <c:pt idx="143">
                  <c:v>7416</c:v>
                </c:pt>
                <c:pt idx="144">
                  <c:v>7673</c:v>
                </c:pt>
                <c:pt idx="145">
                  <c:v>7567</c:v>
                </c:pt>
                <c:pt idx="146">
                  <c:v>7110</c:v>
                </c:pt>
                <c:pt idx="147">
                  <c:v>7089</c:v>
                </c:pt>
                <c:pt idx="148">
                  <c:v>7081</c:v>
                </c:pt>
                <c:pt idx="149">
                  <c:v>7110</c:v>
                </c:pt>
                <c:pt idx="150">
                  <c:v>7421</c:v>
                </c:pt>
                <c:pt idx="151">
                  <c:v>8023</c:v>
                </c:pt>
                <c:pt idx="152">
                  <c:v>7784</c:v>
                </c:pt>
                <c:pt idx="153">
                  <c:v>7361</c:v>
                </c:pt>
                <c:pt idx="154">
                  <c:v>7056</c:v>
                </c:pt>
                <c:pt idx="155">
                  <c:v>6930</c:v>
                </c:pt>
                <c:pt idx="156">
                  <c:v>6959</c:v>
                </c:pt>
                <c:pt idx="157">
                  <c:v>7179</c:v>
                </c:pt>
                <c:pt idx="158">
                  <c:v>7447</c:v>
                </c:pt>
                <c:pt idx="159">
                  <c:v>7233</c:v>
                </c:pt>
                <c:pt idx="160">
                  <c:v>6860</c:v>
                </c:pt>
                <c:pt idx="161">
                  <c:v>6750</c:v>
                </c:pt>
                <c:pt idx="162">
                  <c:v>6585</c:v>
                </c:pt>
                <c:pt idx="163">
                  <c:v>6584</c:v>
                </c:pt>
                <c:pt idx="164">
                  <c:v>6960</c:v>
                </c:pt>
                <c:pt idx="165">
                  <c:v>7401</c:v>
                </c:pt>
                <c:pt idx="166">
                  <c:v>7180</c:v>
                </c:pt>
                <c:pt idx="167">
                  <c:v>6689</c:v>
                </c:pt>
                <c:pt idx="168">
                  <c:v>6339</c:v>
                </c:pt>
                <c:pt idx="169">
                  <c:v>6120</c:v>
                </c:pt>
                <c:pt idx="170">
                  <c:v>6033</c:v>
                </c:pt>
                <c:pt idx="171">
                  <c:v>6156</c:v>
                </c:pt>
                <c:pt idx="172">
                  <c:v>6518</c:v>
                </c:pt>
                <c:pt idx="173">
                  <c:v>6387</c:v>
                </c:pt>
                <c:pt idx="174">
                  <c:v>6147</c:v>
                </c:pt>
                <c:pt idx="175">
                  <c:v>6019</c:v>
                </c:pt>
                <c:pt idx="176">
                  <c:v>5983</c:v>
                </c:pt>
                <c:pt idx="177">
                  <c:v>5884</c:v>
                </c:pt>
                <c:pt idx="178">
                  <c:v>6156</c:v>
                </c:pt>
                <c:pt idx="179">
                  <c:v>6343</c:v>
                </c:pt>
                <c:pt idx="180">
                  <c:v>6274</c:v>
                </c:pt>
                <c:pt idx="181">
                  <c:v>6083</c:v>
                </c:pt>
                <c:pt idx="182">
                  <c:v>5879</c:v>
                </c:pt>
                <c:pt idx="183">
                  <c:v>5971</c:v>
                </c:pt>
                <c:pt idx="184">
                  <c:v>6023</c:v>
                </c:pt>
                <c:pt idx="185">
                  <c:v>6422</c:v>
                </c:pt>
                <c:pt idx="186">
                  <c:v>6657</c:v>
                </c:pt>
                <c:pt idx="187">
                  <c:v>6412</c:v>
                </c:pt>
                <c:pt idx="188">
                  <c:v>6202</c:v>
                </c:pt>
                <c:pt idx="189">
                  <c:v>6147</c:v>
                </c:pt>
                <c:pt idx="190">
                  <c:v>6053</c:v>
                </c:pt>
                <c:pt idx="191">
                  <c:v>6092</c:v>
                </c:pt>
                <c:pt idx="192">
                  <c:v>6421</c:v>
                </c:pt>
                <c:pt idx="193">
                  <c:v>6629</c:v>
                </c:pt>
                <c:pt idx="194">
                  <c:v>6336</c:v>
                </c:pt>
                <c:pt idx="195">
                  <c:v>6095</c:v>
                </c:pt>
                <c:pt idx="196">
                  <c:v>6133</c:v>
                </c:pt>
                <c:pt idx="197">
                  <c:v>6116</c:v>
                </c:pt>
                <c:pt idx="198">
                  <c:v>6142</c:v>
                </c:pt>
                <c:pt idx="199">
                  <c:v>6388</c:v>
                </c:pt>
                <c:pt idx="200">
                  <c:v>6670</c:v>
                </c:pt>
                <c:pt idx="201">
                  <c:v>6530</c:v>
                </c:pt>
                <c:pt idx="202">
                  <c:v>6192</c:v>
                </c:pt>
                <c:pt idx="203">
                  <c:v>62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D-6104-425A-AF38-9D46A1453B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05</c:f>
              <c:numCache>
                <c:formatCode>m/d/yyyy</c:formatCode>
                <c:ptCount val="2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</c:numCache>
            </c:numRef>
          </c:cat>
          <c:val>
            <c:numRef>
              <c:f>Sheet1!$C$2:$C$205</c:f>
              <c:numCache>
                <c:formatCode>General</c:formatCode>
                <c:ptCount val="20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6E-6104-425A-AF38-9D46A1453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2104"/>
        <c:axId val="309852888"/>
      </c:lineChart>
      <c:dateAx>
        <c:axId val="3098521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888"/>
        <c:crosses val="autoZero"/>
        <c:auto val="1"/>
        <c:lblOffset val="100"/>
        <c:baseTimeUnit val="days"/>
      </c:dateAx>
      <c:valAx>
        <c:axId val="309852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032701769606503E-2"/>
          <c:y val="7.32189404514898E-2"/>
          <c:w val="0.83577340237216891"/>
          <c:h val="0.75590739947131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05</c:f>
              <c:numCache>
                <c:formatCode>m/d/yyyy</c:formatCode>
                <c:ptCount val="2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</c:numCache>
            </c:numRef>
          </c:cat>
          <c:val>
            <c:numRef>
              <c:f>Sheet1!$D$2:$D$205</c:f>
              <c:numCache>
                <c:formatCode>#,##0</c:formatCode>
                <c:ptCount val="204"/>
                <c:pt idx="0">
                  <c:v>45</c:v>
                </c:pt>
                <c:pt idx="1">
                  <c:v>49</c:v>
                </c:pt>
                <c:pt idx="2">
                  <c:v>46</c:v>
                </c:pt>
                <c:pt idx="3">
                  <c:v>51</c:v>
                </c:pt>
                <c:pt idx="4">
                  <c:v>49</c:v>
                </c:pt>
                <c:pt idx="5">
                  <c:v>52</c:v>
                </c:pt>
                <c:pt idx="6">
                  <c:v>53</c:v>
                </c:pt>
                <c:pt idx="7">
                  <c:v>50</c:v>
                </c:pt>
                <c:pt idx="8">
                  <c:v>55</c:v>
                </c:pt>
                <c:pt idx="9">
                  <c:v>58</c:v>
                </c:pt>
                <c:pt idx="10">
                  <c:v>62</c:v>
                </c:pt>
                <c:pt idx="11">
                  <c:v>57</c:v>
                </c:pt>
                <c:pt idx="12">
                  <c:v>63</c:v>
                </c:pt>
                <c:pt idx="13">
                  <c:v>70</c:v>
                </c:pt>
                <c:pt idx="14">
                  <c:v>70</c:v>
                </c:pt>
                <c:pt idx="15">
                  <c:v>74</c:v>
                </c:pt>
                <c:pt idx="16">
                  <c:v>81</c:v>
                </c:pt>
                <c:pt idx="17">
                  <c:v>98</c:v>
                </c:pt>
                <c:pt idx="18">
                  <c:v>112</c:v>
                </c:pt>
                <c:pt idx="19">
                  <c:v>122</c:v>
                </c:pt>
                <c:pt idx="20">
                  <c:v>144</c:v>
                </c:pt>
                <c:pt idx="21">
                  <c:v>137</c:v>
                </c:pt>
                <c:pt idx="22">
                  <c:v>147</c:v>
                </c:pt>
                <c:pt idx="23">
                  <c:v>157</c:v>
                </c:pt>
                <c:pt idx="24">
                  <c:v>158</c:v>
                </c:pt>
                <c:pt idx="25">
                  <c:v>163</c:v>
                </c:pt>
                <c:pt idx="26">
                  <c:v>178</c:v>
                </c:pt>
                <c:pt idx="27">
                  <c:v>191</c:v>
                </c:pt>
                <c:pt idx="28">
                  <c:v>197</c:v>
                </c:pt>
                <c:pt idx="29">
                  <c:v>195</c:v>
                </c:pt>
                <c:pt idx="30">
                  <c:v>218</c:v>
                </c:pt>
                <c:pt idx="31">
                  <c:v>224</c:v>
                </c:pt>
                <c:pt idx="32">
                  <c:v>253</c:v>
                </c:pt>
                <c:pt idx="33">
                  <c:v>267</c:v>
                </c:pt>
                <c:pt idx="34">
                  <c:v>281</c:v>
                </c:pt>
                <c:pt idx="35">
                  <c:v>315</c:v>
                </c:pt>
                <c:pt idx="36">
                  <c:v>344</c:v>
                </c:pt>
                <c:pt idx="37">
                  <c:v>356</c:v>
                </c:pt>
                <c:pt idx="38">
                  <c:v>388</c:v>
                </c:pt>
                <c:pt idx="39">
                  <c:v>419</c:v>
                </c:pt>
                <c:pt idx="40">
                  <c:v>410</c:v>
                </c:pt>
                <c:pt idx="41">
                  <c:v>435</c:v>
                </c:pt>
                <c:pt idx="42">
                  <c:v>451</c:v>
                </c:pt>
                <c:pt idx="43">
                  <c:v>477</c:v>
                </c:pt>
                <c:pt idx="44">
                  <c:v>514</c:v>
                </c:pt>
                <c:pt idx="45">
                  <c:v>554</c:v>
                </c:pt>
                <c:pt idx="46">
                  <c:v>571</c:v>
                </c:pt>
                <c:pt idx="47">
                  <c:v>596</c:v>
                </c:pt>
                <c:pt idx="48">
                  <c:v>620</c:v>
                </c:pt>
                <c:pt idx="49">
                  <c:v>640</c:v>
                </c:pt>
                <c:pt idx="50">
                  <c:v>702</c:v>
                </c:pt>
                <c:pt idx="51">
                  <c:v>749</c:v>
                </c:pt>
                <c:pt idx="52">
                  <c:v>760</c:v>
                </c:pt>
                <c:pt idx="53">
                  <c:v>758</c:v>
                </c:pt>
                <c:pt idx="54">
                  <c:v>800</c:v>
                </c:pt>
                <c:pt idx="55">
                  <c:v>882</c:v>
                </c:pt>
                <c:pt idx="56">
                  <c:v>874</c:v>
                </c:pt>
                <c:pt idx="57">
                  <c:v>887</c:v>
                </c:pt>
                <c:pt idx="58">
                  <c:v>993</c:v>
                </c:pt>
                <c:pt idx="59">
                  <c:v>1027</c:v>
                </c:pt>
                <c:pt idx="60">
                  <c:v>1065</c:v>
                </c:pt>
                <c:pt idx="61">
                  <c:v>1113</c:v>
                </c:pt>
                <c:pt idx="62">
                  <c:v>1149</c:v>
                </c:pt>
                <c:pt idx="63">
                  <c:v>1173</c:v>
                </c:pt>
                <c:pt idx="64">
                  <c:v>1160</c:v>
                </c:pt>
                <c:pt idx="65">
                  <c:v>1170</c:v>
                </c:pt>
                <c:pt idx="66">
                  <c:v>1208</c:v>
                </c:pt>
                <c:pt idx="67">
                  <c:v>1154</c:v>
                </c:pt>
                <c:pt idx="68">
                  <c:v>1165</c:v>
                </c:pt>
                <c:pt idx="69">
                  <c:v>1180</c:v>
                </c:pt>
                <c:pt idx="70">
                  <c:v>1166</c:v>
                </c:pt>
                <c:pt idx="71">
                  <c:v>1107</c:v>
                </c:pt>
                <c:pt idx="72">
                  <c:v>1103</c:v>
                </c:pt>
                <c:pt idx="73">
                  <c:v>1100</c:v>
                </c:pt>
                <c:pt idx="74">
                  <c:v>1068</c:v>
                </c:pt>
                <c:pt idx="75">
                  <c:v>1043</c:v>
                </c:pt>
                <c:pt idx="76">
                  <c:v>1037</c:v>
                </c:pt>
                <c:pt idx="77">
                  <c:v>993</c:v>
                </c:pt>
                <c:pt idx="78">
                  <c:v>1003</c:v>
                </c:pt>
                <c:pt idx="79">
                  <c:v>972</c:v>
                </c:pt>
                <c:pt idx="80">
                  <c:v>958</c:v>
                </c:pt>
                <c:pt idx="81">
                  <c:v>943</c:v>
                </c:pt>
                <c:pt idx="82">
                  <c:v>958</c:v>
                </c:pt>
                <c:pt idx="83">
                  <c:v>947</c:v>
                </c:pt>
                <c:pt idx="84">
                  <c:v>876</c:v>
                </c:pt>
                <c:pt idx="85">
                  <c:v>852</c:v>
                </c:pt>
                <c:pt idx="86">
                  <c:v>839</c:v>
                </c:pt>
                <c:pt idx="87">
                  <c:v>794</c:v>
                </c:pt>
                <c:pt idx="88">
                  <c:v>775</c:v>
                </c:pt>
                <c:pt idx="89">
                  <c:v>760</c:v>
                </c:pt>
                <c:pt idx="90">
                  <c:v>784</c:v>
                </c:pt>
                <c:pt idx="91">
                  <c:v>726</c:v>
                </c:pt>
                <c:pt idx="92">
                  <c:v>710</c:v>
                </c:pt>
                <c:pt idx="93">
                  <c:v>712</c:v>
                </c:pt>
                <c:pt idx="94">
                  <c:v>708</c:v>
                </c:pt>
                <c:pt idx="95">
                  <c:v>684</c:v>
                </c:pt>
                <c:pt idx="96">
                  <c:v>671</c:v>
                </c:pt>
                <c:pt idx="97">
                  <c:v>709</c:v>
                </c:pt>
                <c:pt idx="98">
                  <c:v>698</c:v>
                </c:pt>
                <c:pt idx="99">
                  <c:v>684</c:v>
                </c:pt>
                <c:pt idx="100">
                  <c:v>711</c:v>
                </c:pt>
                <c:pt idx="101">
                  <c:v>698</c:v>
                </c:pt>
                <c:pt idx="102">
                  <c:v>694</c:v>
                </c:pt>
                <c:pt idx="103">
                  <c:v>708</c:v>
                </c:pt>
                <c:pt idx="104">
                  <c:v>726</c:v>
                </c:pt>
                <c:pt idx="105">
                  <c:v>722</c:v>
                </c:pt>
                <c:pt idx="106">
                  <c:v>735</c:v>
                </c:pt>
                <c:pt idx="107">
                  <c:v>724</c:v>
                </c:pt>
                <c:pt idx="108">
                  <c:v>726</c:v>
                </c:pt>
                <c:pt idx="109">
                  <c:v>740</c:v>
                </c:pt>
                <c:pt idx="110">
                  <c:v>750</c:v>
                </c:pt>
                <c:pt idx="111">
                  <c:v>760</c:v>
                </c:pt>
                <c:pt idx="112">
                  <c:v>765</c:v>
                </c:pt>
                <c:pt idx="113">
                  <c:v>775</c:v>
                </c:pt>
                <c:pt idx="114">
                  <c:v>744</c:v>
                </c:pt>
                <c:pt idx="115">
                  <c:v>765</c:v>
                </c:pt>
                <c:pt idx="116">
                  <c:v>803</c:v>
                </c:pt>
                <c:pt idx="117">
                  <c:v>844</c:v>
                </c:pt>
                <c:pt idx="118">
                  <c:v>904</c:v>
                </c:pt>
                <c:pt idx="119">
                  <c:v>939</c:v>
                </c:pt>
                <c:pt idx="120">
                  <c:v>954</c:v>
                </c:pt>
                <c:pt idx="121">
                  <c:v>970</c:v>
                </c:pt>
                <c:pt idx="122">
                  <c:v>947</c:v>
                </c:pt>
                <c:pt idx="123">
                  <c:v>958</c:v>
                </c:pt>
                <c:pt idx="124">
                  <c:v>1003</c:v>
                </c:pt>
                <c:pt idx="125">
                  <c:v>1089</c:v>
                </c:pt>
                <c:pt idx="126">
                  <c:v>1110</c:v>
                </c:pt>
                <c:pt idx="127">
                  <c:v>1148</c:v>
                </c:pt>
                <c:pt idx="128">
                  <c:v>1147</c:v>
                </c:pt>
                <c:pt idx="129">
                  <c:v>1140</c:v>
                </c:pt>
                <c:pt idx="130">
                  <c:v>1147</c:v>
                </c:pt>
                <c:pt idx="131">
                  <c:v>1174</c:v>
                </c:pt>
                <c:pt idx="132">
                  <c:v>1187</c:v>
                </c:pt>
                <c:pt idx="133">
                  <c:v>1172</c:v>
                </c:pt>
                <c:pt idx="134">
                  <c:v>1169</c:v>
                </c:pt>
                <c:pt idx="135">
                  <c:v>1178</c:v>
                </c:pt>
                <c:pt idx="136">
                  <c:v>1167</c:v>
                </c:pt>
                <c:pt idx="137">
                  <c:v>1157</c:v>
                </c:pt>
                <c:pt idx="138">
                  <c:v>1128</c:v>
                </c:pt>
                <c:pt idx="139">
                  <c:v>1153</c:v>
                </c:pt>
                <c:pt idx="140">
                  <c:v>1135</c:v>
                </c:pt>
                <c:pt idx="141">
                  <c:v>1111</c:v>
                </c:pt>
                <c:pt idx="142">
                  <c:v>1105</c:v>
                </c:pt>
                <c:pt idx="143">
                  <c:v>1109</c:v>
                </c:pt>
                <c:pt idx="144">
                  <c:v>1092</c:v>
                </c:pt>
                <c:pt idx="145">
                  <c:v>1058</c:v>
                </c:pt>
                <c:pt idx="146">
                  <c:v>1080</c:v>
                </c:pt>
                <c:pt idx="147">
                  <c:v>1046</c:v>
                </c:pt>
                <c:pt idx="148">
                  <c:v>1037</c:v>
                </c:pt>
                <c:pt idx="149">
                  <c:v>1017</c:v>
                </c:pt>
                <c:pt idx="150">
                  <c:v>1017</c:v>
                </c:pt>
                <c:pt idx="151">
                  <c:v>1022</c:v>
                </c:pt>
                <c:pt idx="152">
                  <c:v>1040</c:v>
                </c:pt>
                <c:pt idx="153">
                  <c:v>1079</c:v>
                </c:pt>
                <c:pt idx="154">
                  <c:v>1090</c:v>
                </c:pt>
                <c:pt idx="155">
                  <c:v>1077</c:v>
                </c:pt>
                <c:pt idx="156">
                  <c:v>1104</c:v>
                </c:pt>
                <c:pt idx="157">
                  <c:v>1090</c:v>
                </c:pt>
                <c:pt idx="158">
                  <c:v>1073</c:v>
                </c:pt>
                <c:pt idx="159">
                  <c:v>1099</c:v>
                </c:pt>
                <c:pt idx="160">
                  <c:v>1107</c:v>
                </c:pt>
                <c:pt idx="161">
                  <c:v>1092</c:v>
                </c:pt>
                <c:pt idx="162">
                  <c:v>1108</c:v>
                </c:pt>
                <c:pt idx="163">
                  <c:v>1114</c:v>
                </c:pt>
                <c:pt idx="164">
                  <c:v>1111</c:v>
                </c:pt>
                <c:pt idx="165">
                  <c:v>1105</c:v>
                </c:pt>
                <c:pt idx="166">
                  <c:v>1146</c:v>
                </c:pt>
                <c:pt idx="167">
                  <c:v>1169</c:v>
                </c:pt>
                <c:pt idx="168">
                  <c:v>1214</c:v>
                </c:pt>
                <c:pt idx="169">
                  <c:v>1243</c:v>
                </c:pt>
                <c:pt idx="170">
                  <c:v>1267</c:v>
                </c:pt>
                <c:pt idx="171">
                  <c:v>1270</c:v>
                </c:pt>
                <c:pt idx="172">
                  <c:v>1270</c:v>
                </c:pt>
                <c:pt idx="173">
                  <c:v>1280</c:v>
                </c:pt>
                <c:pt idx="174">
                  <c:v>1362</c:v>
                </c:pt>
                <c:pt idx="175">
                  <c:v>1391</c:v>
                </c:pt>
                <c:pt idx="176">
                  <c:v>1409</c:v>
                </c:pt>
                <c:pt idx="177">
                  <c:v>1462</c:v>
                </c:pt>
                <c:pt idx="178">
                  <c:v>1438</c:v>
                </c:pt>
                <c:pt idx="179">
                  <c:v>1467</c:v>
                </c:pt>
                <c:pt idx="180">
                  <c:v>1505</c:v>
                </c:pt>
                <c:pt idx="181">
                  <c:v>1587</c:v>
                </c:pt>
                <c:pt idx="182">
                  <c:v>1601</c:v>
                </c:pt>
                <c:pt idx="183">
                  <c:v>1628</c:v>
                </c:pt>
                <c:pt idx="184">
                  <c:v>1652</c:v>
                </c:pt>
                <c:pt idx="185">
                  <c:v>1672</c:v>
                </c:pt>
                <c:pt idx="186">
                  <c:v>1678</c:v>
                </c:pt>
                <c:pt idx="187">
                  <c:v>1680</c:v>
                </c:pt>
                <c:pt idx="188">
                  <c:v>1774</c:v>
                </c:pt>
                <c:pt idx="189">
                  <c:v>1801</c:v>
                </c:pt>
                <c:pt idx="190">
                  <c:v>1833</c:v>
                </c:pt>
                <c:pt idx="191">
                  <c:v>1825</c:v>
                </c:pt>
                <c:pt idx="192">
                  <c:v>1836</c:v>
                </c:pt>
                <c:pt idx="193">
                  <c:v>1786</c:v>
                </c:pt>
                <c:pt idx="194">
                  <c:v>1832</c:v>
                </c:pt>
                <c:pt idx="195">
                  <c:v>1887</c:v>
                </c:pt>
                <c:pt idx="196">
                  <c:v>1894</c:v>
                </c:pt>
                <c:pt idx="197">
                  <c:v>1858</c:v>
                </c:pt>
                <c:pt idx="198">
                  <c:v>1853</c:v>
                </c:pt>
                <c:pt idx="199">
                  <c:v>1805</c:v>
                </c:pt>
                <c:pt idx="200">
                  <c:v>1769</c:v>
                </c:pt>
                <c:pt idx="201">
                  <c:v>1793</c:v>
                </c:pt>
                <c:pt idx="202">
                  <c:v>1816</c:v>
                </c:pt>
                <c:pt idx="203">
                  <c:v>17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6808"/>
        <c:axId val="30985249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OJIPLuzekDOSTUP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61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4.7626510820864477E-2"/>
                      <c:h val="7.9078959092664172E-2"/>
                    </c:manualLayout>
                  </c15:layout>
                </c:ext>
              </c:extLst>
            </c:dLbl>
            <c:dLbl>
              <c:idx val="182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7.340058756094224E-2"/>
                      <c:h val="9.2550672737070336E-2"/>
                    </c:manualLayout>
                  </c15:layout>
                </c:ext>
              </c:extLst>
            </c:dLbl>
            <c:dLbl>
              <c:idx val="203"/>
              <c:layout>
                <c:manualLayout>
                  <c:x val="-5.6121672874553101E-2"/>
                  <c:y val="-8.98114242960411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</c:numCache>
            </c:numRef>
          </c:cat>
          <c:val>
            <c:numRef>
              <c:f>Sheet1!$B$2:$B$205</c:f>
              <c:numCache>
                <c:formatCode>#,##0</c:formatCode>
                <c:ptCount val="204"/>
                <c:pt idx="0">
                  <c:v>1163</c:v>
                </c:pt>
                <c:pt idx="1">
                  <c:v>1128</c:v>
                </c:pt>
                <c:pt idx="2">
                  <c:v>1112</c:v>
                </c:pt>
                <c:pt idx="3">
                  <c:v>1152</c:v>
                </c:pt>
                <c:pt idx="4">
                  <c:v>1170</c:v>
                </c:pt>
                <c:pt idx="5">
                  <c:v>1192</c:v>
                </c:pt>
                <c:pt idx="6">
                  <c:v>1174</c:v>
                </c:pt>
                <c:pt idx="7">
                  <c:v>1148</c:v>
                </c:pt>
                <c:pt idx="8">
                  <c:v>1107</c:v>
                </c:pt>
                <c:pt idx="9">
                  <c:v>1070</c:v>
                </c:pt>
                <c:pt idx="10">
                  <c:v>1034</c:v>
                </c:pt>
                <c:pt idx="11">
                  <c:v>1056</c:v>
                </c:pt>
                <c:pt idx="12">
                  <c:v>1094</c:v>
                </c:pt>
                <c:pt idx="13">
                  <c:v>1039</c:v>
                </c:pt>
                <c:pt idx="14">
                  <c:v>1000</c:v>
                </c:pt>
                <c:pt idx="15">
                  <c:v>1011</c:v>
                </c:pt>
                <c:pt idx="16">
                  <c:v>959</c:v>
                </c:pt>
                <c:pt idx="17">
                  <c:v>967</c:v>
                </c:pt>
                <c:pt idx="18">
                  <c:v>1002</c:v>
                </c:pt>
                <c:pt idx="19">
                  <c:v>1016</c:v>
                </c:pt>
                <c:pt idx="20">
                  <c:v>986</c:v>
                </c:pt>
                <c:pt idx="21">
                  <c:v>890</c:v>
                </c:pt>
                <c:pt idx="22">
                  <c:v>887</c:v>
                </c:pt>
                <c:pt idx="23">
                  <c:v>863</c:v>
                </c:pt>
                <c:pt idx="24">
                  <c:v>921</c:v>
                </c:pt>
                <c:pt idx="25">
                  <c:v>1001</c:v>
                </c:pt>
                <c:pt idx="26">
                  <c:v>1035</c:v>
                </c:pt>
                <c:pt idx="27">
                  <c:v>1044</c:v>
                </c:pt>
                <c:pt idx="28">
                  <c:v>1002</c:v>
                </c:pt>
                <c:pt idx="29">
                  <c:v>944</c:v>
                </c:pt>
                <c:pt idx="30">
                  <c:v>933</c:v>
                </c:pt>
                <c:pt idx="31">
                  <c:v>950</c:v>
                </c:pt>
                <c:pt idx="32">
                  <c:v>962</c:v>
                </c:pt>
                <c:pt idx="33">
                  <c:v>976</c:v>
                </c:pt>
                <c:pt idx="34">
                  <c:v>959</c:v>
                </c:pt>
                <c:pt idx="35">
                  <c:v>905</c:v>
                </c:pt>
                <c:pt idx="36">
                  <c:v>890</c:v>
                </c:pt>
                <c:pt idx="37">
                  <c:v>924</c:v>
                </c:pt>
                <c:pt idx="38">
                  <c:v>942</c:v>
                </c:pt>
                <c:pt idx="39">
                  <c:v>983</c:v>
                </c:pt>
                <c:pt idx="40">
                  <c:v>1018</c:v>
                </c:pt>
                <c:pt idx="41">
                  <c:v>958</c:v>
                </c:pt>
                <c:pt idx="42">
                  <c:v>936</c:v>
                </c:pt>
                <c:pt idx="43">
                  <c:v>977</c:v>
                </c:pt>
                <c:pt idx="44">
                  <c:v>897</c:v>
                </c:pt>
                <c:pt idx="45">
                  <c:v>983</c:v>
                </c:pt>
                <c:pt idx="46">
                  <c:v>1007</c:v>
                </c:pt>
                <c:pt idx="47">
                  <c:v>976</c:v>
                </c:pt>
                <c:pt idx="48">
                  <c:v>963</c:v>
                </c:pt>
                <c:pt idx="49">
                  <c:v>1013</c:v>
                </c:pt>
                <c:pt idx="50">
                  <c:v>1011</c:v>
                </c:pt>
                <c:pt idx="51">
                  <c:v>995</c:v>
                </c:pt>
                <c:pt idx="52">
                  <c:v>1029</c:v>
                </c:pt>
                <c:pt idx="53">
                  <c:v>1081</c:v>
                </c:pt>
                <c:pt idx="54">
                  <c:v>1076</c:v>
                </c:pt>
                <c:pt idx="55">
                  <c:v>1101</c:v>
                </c:pt>
                <c:pt idx="56">
                  <c:v>1085</c:v>
                </c:pt>
                <c:pt idx="57">
                  <c:v>1088</c:v>
                </c:pt>
                <c:pt idx="58">
                  <c:v>1125</c:v>
                </c:pt>
                <c:pt idx="59">
                  <c:v>1211</c:v>
                </c:pt>
                <c:pt idx="60">
                  <c:v>1230</c:v>
                </c:pt>
                <c:pt idx="61">
                  <c:v>1217</c:v>
                </c:pt>
                <c:pt idx="62">
                  <c:v>1245</c:v>
                </c:pt>
                <c:pt idx="63">
                  <c:v>1213</c:v>
                </c:pt>
                <c:pt idx="64">
                  <c:v>1190</c:v>
                </c:pt>
                <c:pt idx="65">
                  <c:v>1218</c:v>
                </c:pt>
                <c:pt idx="66">
                  <c:v>1245</c:v>
                </c:pt>
                <c:pt idx="67">
                  <c:v>1244</c:v>
                </c:pt>
                <c:pt idx="68">
                  <c:v>1245</c:v>
                </c:pt>
                <c:pt idx="69">
                  <c:v>1331</c:v>
                </c:pt>
                <c:pt idx="70">
                  <c:v>1296</c:v>
                </c:pt>
                <c:pt idx="71">
                  <c:v>1263</c:v>
                </c:pt>
                <c:pt idx="72">
                  <c:v>1279</c:v>
                </c:pt>
                <c:pt idx="73">
                  <c:v>1279</c:v>
                </c:pt>
                <c:pt idx="74">
                  <c:v>1273</c:v>
                </c:pt>
                <c:pt idx="75">
                  <c:v>1300</c:v>
                </c:pt>
                <c:pt idx="76">
                  <c:v>1319</c:v>
                </c:pt>
                <c:pt idx="77">
                  <c:v>1366</c:v>
                </c:pt>
                <c:pt idx="78">
                  <c:v>1381</c:v>
                </c:pt>
                <c:pt idx="79">
                  <c:v>1297</c:v>
                </c:pt>
                <c:pt idx="80">
                  <c:v>1301</c:v>
                </c:pt>
                <c:pt idx="81">
                  <c:v>1344</c:v>
                </c:pt>
                <c:pt idx="82">
                  <c:v>1370</c:v>
                </c:pt>
                <c:pt idx="83">
                  <c:v>1302</c:v>
                </c:pt>
                <c:pt idx="84">
                  <c:v>1316</c:v>
                </c:pt>
                <c:pt idx="85">
                  <c:v>1338</c:v>
                </c:pt>
                <c:pt idx="86">
                  <c:v>1283</c:v>
                </c:pt>
                <c:pt idx="87">
                  <c:v>1263</c:v>
                </c:pt>
                <c:pt idx="88">
                  <c:v>1327</c:v>
                </c:pt>
                <c:pt idx="89">
                  <c:v>1358</c:v>
                </c:pt>
                <c:pt idx="90">
                  <c:v>1305</c:v>
                </c:pt>
                <c:pt idx="91">
                  <c:v>1276</c:v>
                </c:pt>
                <c:pt idx="92">
                  <c:v>1271</c:v>
                </c:pt>
                <c:pt idx="93">
                  <c:v>1202</c:v>
                </c:pt>
                <c:pt idx="94">
                  <c:v>1185</c:v>
                </c:pt>
                <c:pt idx="95">
                  <c:v>1177</c:v>
                </c:pt>
                <c:pt idx="96">
                  <c:v>1222</c:v>
                </c:pt>
                <c:pt idx="97">
                  <c:v>1235</c:v>
                </c:pt>
                <c:pt idx="98">
                  <c:v>1162</c:v>
                </c:pt>
                <c:pt idx="99">
                  <c:v>1159</c:v>
                </c:pt>
                <c:pt idx="100">
                  <c:v>1096</c:v>
                </c:pt>
                <c:pt idx="101">
                  <c:v>1130</c:v>
                </c:pt>
                <c:pt idx="102">
                  <c:v>1212</c:v>
                </c:pt>
                <c:pt idx="103">
                  <c:v>1196</c:v>
                </c:pt>
                <c:pt idx="104">
                  <c:v>1148</c:v>
                </c:pt>
                <c:pt idx="105">
                  <c:v>1125</c:v>
                </c:pt>
                <c:pt idx="106">
                  <c:v>1120</c:v>
                </c:pt>
                <c:pt idx="107">
                  <c:v>1115</c:v>
                </c:pt>
                <c:pt idx="108">
                  <c:v>1160</c:v>
                </c:pt>
                <c:pt idx="109">
                  <c:v>1171</c:v>
                </c:pt>
                <c:pt idx="110">
                  <c:v>1196</c:v>
                </c:pt>
                <c:pt idx="111">
                  <c:v>1205</c:v>
                </c:pt>
                <c:pt idx="112">
                  <c:v>1252</c:v>
                </c:pt>
                <c:pt idx="113">
                  <c:v>1281</c:v>
                </c:pt>
                <c:pt idx="114">
                  <c:v>1329</c:v>
                </c:pt>
                <c:pt idx="115">
                  <c:v>1344</c:v>
                </c:pt>
                <c:pt idx="116">
                  <c:v>1328</c:v>
                </c:pt>
                <c:pt idx="117">
                  <c:v>1279</c:v>
                </c:pt>
                <c:pt idx="118">
                  <c:v>1243</c:v>
                </c:pt>
                <c:pt idx="119">
                  <c:v>1170</c:v>
                </c:pt>
                <c:pt idx="120">
                  <c:v>1184</c:v>
                </c:pt>
                <c:pt idx="121">
                  <c:v>1161</c:v>
                </c:pt>
                <c:pt idx="122">
                  <c:v>1181</c:v>
                </c:pt>
                <c:pt idx="123">
                  <c:v>1157</c:v>
                </c:pt>
                <c:pt idx="124">
                  <c:v>1073</c:v>
                </c:pt>
                <c:pt idx="125">
                  <c:v>1022</c:v>
                </c:pt>
                <c:pt idx="126">
                  <c:v>958</c:v>
                </c:pt>
                <c:pt idx="127">
                  <c:v>949</c:v>
                </c:pt>
                <c:pt idx="128">
                  <c:v>944</c:v>
                </c:pt>
                <c:pt idx="129">
                  <c:v>970</c:v>
                </c:pt>
                <c:pt idx="130">
                  <c:v>973</c:v>
                </c:pt>
                <c:pt idx="131">
                  <c:v>985</c:v>
                </c:pt>
                <c:pt idx="132">
                  <c:v>959</c:v>
                </c:pt>
                <c:pt idx="133">
                  <c:v>921</c:v>
                </c:pt>
                <c:pt idx="134">
                  <c:v>936</c:v>
                </c:pt>
                <c:pt idx="135">
                  <c:v>938</c:v>
                </c:pt>
                <c:pt idx="136">
                  <c:v>946</c:v>
                </c:pt>
                <c:pt idx="137">
                  <c:v>972</c:v>
                </c:pt>
                <c:pt idx="138">
                  <c:v>963</c:v>
                </c:pt>
                <c:pt idx="139">
                  <c:v>955</c:v>
                </c:pt>
                <c:pt idx="140">
                  <c:v>950</c:v>
                </c:pt>
                <c:pt idx="141">
                  <c:v>959</c:v>
                </c:pt>
                <c:pt idx="142">
                  <c:v>946</c:v>
                </c:pt>
                <c:pt idx="143">
                  <c:v>970</c:v>
                </c:pt>
                <c:pt idx="144">
                  <c:v>997</c:v>
                </c:pt>
                <c:pt idx="145">
                  <c:v>984</c:v>
                </c:pt>
                <c:pt idx="146">
                  <c:v>961</c:v>
                </c:pt>
                <c:pt idx="147">
                  <c:v>960</c:v>
                </c:pt>
                <c:pt idx="148">
                  <c:v>964</c:v>
                </c:pt>
                <c:pt idx="149">
                  <c:v>982</c:v>
                </c:pt>
                <c:pt idx="150">
                  <c:v>988</c:v>
                </c:pt>
                <c:pt idx="151">
                  <c:v>1025</c:v>
                </c:pt>
                <c:pt idx="152">
                  <c:v>1051</c:v>
                </c:pt>
                <c:pt idx="153">
                  <c:v>960</c:v>
                </c:pt>
                <c:pt idx="154">
                  <c:v>911</c:v>
                </c:pt>
                <c:pt idx="155">
                  <c:v>921</c:v>
                </c:pt>
                <c:pt idx="156">
                  <c:v>914</c:v>
                </c:pt>
                <c:pt idx="157">
                  <c:v>931</c:v>
                </c:pt>
                <c:pt idx="158">
                  <c:v>975</c:v>
                </c:pt>
                <c:pt idx="159">
                  <c:v>967</c:v>
                </c:pt>
                <c:pt idx="160">
                  <c:v>916</c:v>
                </c:pt>
                <c:pt idx="161">
                  <c:v>915</c:v>
                </c:pt>
                <c:pt idx="162">
                  <c:v>875</c:v>
                </c:pt>
                <c:pt idx="163">
                  <c:v>809</c:v>
                </c:pt>
                <c:pt idx="164">
                  <c:v>844</c:v>
                </c:pt>
                <c:pt idx="165">
                  <c:v>876</c:v>
                </c:pt>
                <c:pt idx="166">
                  <c:v>844</c:v>
                </c:pt>
                <c:pt idx="167">
                  <c:v>822</c:v>
                </c:pt>
                <c:pt idx="168">
                  <c:v>774</c:v>
                </c:pt>
                <c:pt idx="169">
                  <c:v>751</c:v>
                </c:pt>
                <c:pt idx="170">
                  <c:v>752</c:v>
                </c:pt>
                <c:pt idx="171">
                  <c:v>715</c:v>
                </c:pt>
                <c:pt idx="172">
                  <c:v>770</c:v>
                </c:pt>
                <c:pt idx="173">
                  <c:v>767</c:v>
                </c:pt>
                <c:pt idx="174">
                  <c:v>754</c:v>
                </c:pt>
                <c:pt idx="175">
                  <c:v>752</c:v>
                </c:pt>
                <c:pt idx="176">
                  <c:v>710</c:v>
                </c:pt>
                <c:pt idx="177">
                  <c:v>738</c:v>
                </c:pt>
                <c:pt idx="178">
                  <c:v>777</c:v>
                </c:pt>
                <c:pt idx="179">
                  <c:v>731</c:v>
                </c:pt>
                <c:pt idx="180">
                  <c:v>723</c:v>
                </c:pt>
                <c:pt idx="181">
                  <c:v>722</c:v>
                </c:pt>
                <c:pt idx="182">
                  <c:v>730</c:v>
                </c:pt>
                <c:pt idx="183">
                  <c:v>741</c:v>
                </c:pt>
                <c:pt idx="184">
                  <c:v>737</c:v>
                </c:pt>
                <c:pt idx="185">
                  <c:v>758</c:v>
                </c:pt>
                <c:pt idx="186">
                  <c:v>748</c:v>
                </c:pt>
                <c:pt idx="187">
                  <c:v>761</c:v>
                </c:pt>
                <c:pt idx="188">
                  <c:v>771</c:v>
                </c:pt>
                <c:pt idx="189">
                  <c:v>693</c:v>
                </c:pt>
                <c:pt idx="190">
                  <c:v>648</c:v>
                </c:pt>
                <c:pt idx="191">
                  <c:v>628</c:v>
                </c:pt>
                <c:pt idx="192">
                  <c:v>675</c:v>
                </c:pt>
                <c:pt idx="193">
                  <c:v>670</c:v>
                </c:pt>
                <c:pt idx="194">
                  <c:v>639</c:v>
                </c:pt>
                <c:pt idx="195">
                  <c:v>641</c:v>
                </c:pt>
                <c:pt idx="196">
                  <c:v>597</c:v>
                </c:pt>
                <c:pt idx="197">
                  <c:v>649</c:v>
                </c:pt>
                <c:pt idx="198">
                  <c:v>673</c:v>
                </c:pt>
                <c:pt idx="199">
                  <c:v>666</c:v>
                </c:pt>
                <c:pt idx="200">
                  <c:v>661</c:v>
                </c:pt>
                <c:pt idx="201">
                  <c:v>676</c:v>
                </c:pt>
                <c:pt idx="202">
                  <c:v>696</c:v>
                </c:pt>
                <c:pt idx="203">
                  <c:v>7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17-4C75-8083-4C309D7E9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05</c:f>
              <c:numCache>
                <c:formatCode>m/d/yyyy</c:formatCode>
                <c:ptCount val="2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</c:numCache>
            </c:numRef>
          </c:cat>
          <c:val>
            <c:numRef>
              <c:f>Sheet1!$C$2:$C$205</c:f>
              <c:numCache>
                <c:formatCode>General</c:formatCode>
                <c:ptCount val="20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17-4C75-8083-4C309D7E9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6808"/>
        <c:axId val="309852496"/>
      </c:lineChart>
      <c:dateAx>
        <c:axId val="3098568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2496"/>
        <c:crosses val="autoZero"/>
        <c:auto val="1"/>
        <c:lblOffset val="100"/>
        <c:baseTimeUnit val="days"/>
      </c:dateAx>
      <c:valAx>
        <c:axId val="30985249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6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1511890472166E-2"/>
          <c:y val="6.42377980218857E-2"/>
          <c:w val="0.86174132132203507"/>
          <c:h val="0.67217062190521848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CM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205</c:f>
              <c:numCache>
                <c:formatCode>m/d/yyyy</c:formatCode>
                <c:ptCount val="2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</c:numCache>
            </c:numRef>
          </c:cat>
          <c:val>
            <c:numRef>
              <c:f>Sheet1!$D$2:$D$205</c:f>
              <c:numCache>
                <c:formatCode>#,##0</c:formatCode>
                <c:ptCount val="20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1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2</c:v>
                </c:pt>
                <c:pt idx="33">
                  <c:v>2</c:v>
                </c:pt>
                <c:pt idx="34">
                  <c:v>3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5</c:v>
                </c:pt>
                <c:pt idx="39">
                  <c:v>4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5</c:v>
                </c:pt>
                <c:pt idx="44">
                  <c:v>7</c:v>
                </c:pt>
                <c:pt idx="45">
                  <c:v>9</c:v>
                </c:pt>
                <c:pt idx="46">
                  <c:v>10</c:v>
                </c:pt>
                <c:pt idx="47">
                  <c:v>12</c:v>
                </c:pt>
                <c:pt idx="48">
                  <c:v>14</c:v>
                </c:pt>
                <c:pt idx="49">
                  <c:v>14</c:v>
                </c:pt>
                <c:pt idx="50">
                  <c:v>14</c:v>
                </c:pt>
                <c:pt idx="51">
                  <c:v>13</c:v>
                </c:pt>
                <c:pt idx="52">
                  <c:v>16</c:v>
                </c:pt>
                <c:pt idx="53">
                  <c:v>12</c:v>
                </c:pt>
                <c:pt idx="54">
                  <c:v>6</c:v>
                </c:pt>
                <c:pt idx="55">
                  <c:v>5</c:v>
                </c:pt>
                <c:pt idx="56">
                  <c:v>5</c:v>
                </c:pt>
                <c:pt idx="57">
                  <c:v>6</c:v>
                </c:pt>
                <c:pt idx="58">
                  <c:v>8</c:v>
                </c:pt>
                <c:pt idx="59">
                  <c:v>7</c:v>
                </c:pt>
                <c:pt idx="60">
                  <c:v>7</c:v>
                </c:pt>
                <c:pt idx="61">
                  <c:v>7</c:v>
                </c:pt>
                <c:pt idx="62">
                  <c:v>7</c:v>
                </c:pt>
                <c:pt idx="63">
                  <c:v>9</c:v>
                </c:pt>
                <c:pt idx="64">
                  <c:v>8</c:v>
                </c:pt>
                <c:pt idx="65">
                  <c:v>9</c:v>
                </c:pt>
                <c:pt idx="66">
                  <c:v>12</c:v>
                </c:pt>
                <c:pt idx="67">
                  <c:v>12</c:v>
                </c:pt>
                <c:pt idx="68">
                  <c:v>13</c:v>
                </c:pt>
                <c:pt idx="69">
                  <c:v>19</c:v>
                </c:pt>
                <c:pt idx="70">
                  <c:v>19</c:v>
                </c:pt>
                <c:pt idx="71">
                  <c:v>18</c:v>
                </c:pt>
                <c:pt idx="72">
                  <c:v>17</c:v>
                </c:pt>
                <c:pt idx="73">
                  <c:v>16</c:v>
                </c:pt>
                <c:pt idx="74">
                  <c:v>15</c:v>
                </c:pt>
                <c:pt idx="75">
                  <c:v>15</c:v>
                </c:pt>
                <c:pt idx="76">
                  <c:v>15</c:v>
                </c:pt>
                <c:pt idx="77">
                  <c:v>14</c:v>
                </c:pt>
                <c:pt idx="78">
                  <c:v>16</c:v>
                </c:pt>
                <c:pt idx="79">
                  <c:v>18</c:v>
                </c:pt>
                <c:pt idx="80">
                  <c:v>20</c:v>
                </c:pt>
                <c:pt idx="81">
                  <c:v>23</c:v>
                </c:pt>
                <c:pt idx="82">
                  <c:v>23</c:v>
                </c:pt>
                <c:pt idx="83">
                  <c:v>21</c:v>
                </c:pt>
                <c:pt idx="84">
                  <c:v>22</c:v>
                </c:pt>
                <c:pt idx="85">
                  <c:v>19</c:v>
                </c:pt>
                <c:pt idx="86">
                  <c:v>18</c:v>
                </c:pt>
                <c:pt idx="87">
                  <c:v>17</c:v>
                </c:pt>
                <c:pt idx="88">
                  <c:v>12</c:v>
                </c:pt>
                <c:pt idx="89">
                  <c:v>12</c:v>
                </c:pt>
                <c:pt idx="90">
                  <c:v>11</c:v>
                </c:pt>
                <c:pt idx="91">
                  <c:v>10</c:v>
                </c:pt>
                <c:pt idx="92">
                  <c:v>11</c:v>
                </c:pt>
                <c:pt idx="93">
                  <c:v>11</c:v>
                </c:pt>
                <c:pt idx="94">
                  <c:v>11</c:v>
                </c:pt>
                <c:pt idx="95">
                  <c:v>11</c:v>
                </c:pt>
                <c:pt idx="96">
                  <c:v>12</c:v>
                </c:pt>
                <c:pt idx="97">
                  <c:v>11</c:v>
                </c:pt>
                <c:pt idx="98">
                  <c:v>8</c:v>
                </c:pt>
                <c:pt idx="99">
                  <c:v>10</c:v>
                </c:pt>
                <c:pt idx="100">
                  <c:v>8</c:v>
                </c:pt>
                <c:pt idx="101">
                  <c:v>9</c:v>
                </c:pt>
                <c:pt idx="102">
                  <c:v>6</c:v>
                </c:pt>
                <c:pt idx="103">
                  <c:v>7</c:v>
                </c:pt>
                <c:pt idx="104">
                  <c:v>9</c:v>
                </c:pt>
                <c:pt idx="105">
                  <c:v>9</c:v>
                </c:pt>
                <c:pt idx="106">
                  <c:v>9</c:v>
                </c:pt>
                <c:pt idx="107">
                  <c:v>9</c:v>
                </c:pt>
                <c:pt idx="108">
                  <c:v>8</c:v>
                </c:pt>
                <c:pt idx="109">
                  <c:v>9</c:v>
                </c:pt>
                <c:pt idx="110">
                  <c:v>10</c:v>
                </c:pt>
                <c:pt idx="111">
                  <c:v>9</c:v>
                </c:pt>
                <c:pt idx="112">
                  <c:v>7</c:v>
                </c:pt>
                <c:pt idx="113">
                  <c:v>9</c:v>
                </c:pt>
                <c:pt idx="114">
                  <c:v>9</c:v>
                </c:pt>
                <c:pt idx="115">
                  <c:v>8</c:v>
                </c:pt>
                <c:pt idx="116">
                  <c:v>10</c:v>
                </c:pt>
                <c:pt idx="117">
                  <c:v>12</c:v>
                </c:pt>
                <c:pt idx="118">
                  <c:v>14</c:v>
                </c:pt>
                <c:pt idx="119">
                  <c:v>15</c:v>
                </c:pt>
                <c:pt idx="120">
                  <c:v>18</c:v>
                </c:pt>
                <c:pt idx="121">
                  <c:v>18</c:v>
                </c:pt>
                <c:pt idx="122">
                  <c:v>15</c:v>
                </c:pt>
                <c:pt idx="123">
                  <c:v>16</c:v>
                </c:pt>
                <c:pt idx="124">
                  <c:v>18</c:v>
                </c:pt>
                <c:pt idx="125">
                  <c:v>20</c:v>
                </c:pt>
                <c:pt idx="126">
                  <c:v>19</c:v>
                </c:pt>
                <c:pt idx="127">
                  <c:v>20</c:v>
                </c:pt>
                <c:pt idx="128">
                  <c:v>22</c:v>
                </c:pt>
                <c:pt idx="129">
                  <c:v>21</c:v>
                </c:pt>
                <c:pt idx="130">
                  <c:v>20</c:v>
                </c:pt>
                <c:pt idx="131">
                  <c:v>20</c:v>
                </c:pt>
                <c:pt idx="132">
                  <c:v>20</c:v>
                </c:pt>
                <c:pt idx="133">
                  <c:v>17</c:v>
                </c:pt>
                <c:pt idx="134">
                  <c:v>13</c:v>
                </c:pt>
                <c:pt idx="135">
                  <c:v>14</c:v>
                </c:pt>
                <c:pt idx="136">
                  <c:v>15</c:v>
                </c:pt>
                <c:pt idx="137">
                  <c:v>16</c:v>
                </c:pt>
                <c:pt idx="138">
                  <c:v>14</c:v>
                </c:pt>
                <c:pt idx="139">
                  <c:v>15</c:v>
                </c:pt>
                <c:pt idx="140">
                  <c:v>15</c:v>
                </c:pt>
                <c:pt idx="141">
                  <c:v>16</c:v>
                </c:pt>
                <c:pt idx="142">
                  <c:v>19</c:v>
                </c:pt>
                <c:pt idx="143">
                  <c:v>17</c:v>
                </c:pt>
                <c:pt idx="144">
                  <c:v>19</c:v>
                </c:pt>
                <c:pt idx="145">
                  <c:v>18</c:v>
                </c:pt>
                <c:pt idx="146">
                  <c:v>17</c:v>
                </c:pt>
                <c:pt idx="147">
                  <c:v>15</c:v>
                </c:pt>
                <c:pt idx="148">
                  <c:v>17</c:v>
                </c:pt>
                <c:pt idx="149">
                  <c:v>16</c:v>
                </c:pt>
                <c:pt idx="150">
                  <c:v>16</c:v>
                </c:pt>
                <c:pt idx="151">
                  <c:v>16</c:v>
                </c:pt>
                <c:pt idx="152">
                  <c:v>17</c:v>
                </c:pt>
                <c:pt idx="153">
                  <c:v>19</c:v>
                </c:pt>
                <c:pt idx="154">
                  <c:v>17</c:v>
                </c:pt>
                <c:pt idx="155">
                  <c:v>16</c:v>
                </c:pt>
                <c:pt idx="156">
                  <c:v>17</c:v>
                </c:pt>
                <c:pt idx="157">
                  <c:v>17</c:v>
                </c:pt>
                <c:pt idx="158">
                  <c:v>17</c:v>
                </c:pt>
                <c:pt idx="159">
                  <c:v>14</c:v>
                </c:pt>
                <c:pt idx="160">
                  <c:v>15</c:v>
                </c:pt>
                <c:pt idx="161">
                  <c:v>12</c:v>
                </c:pt>
                <c:pt idx="162">
                  <c:v>13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5</c:v>
                </c:pt>
                <c:pt idx="167">
                  <c:v>17</c:v>
                </c:pt>
                <c:pt idx="168">
                  <c:v>18</c:v>
                </c:pt>
                <c:pt idx="169">
                  <c:v>18</c:v>
                </c:pt>
                <c:pt idx="170">
                  <c:v>19</c:v>
                </c:pt>
                <c:pt idx="171">
                  <c:v>17</c:v>
                </c:pt>
                <c:pt idx="172">
                  <c:v>17</c:v>
                </c:pt>
                <c:pt idx="173">
                  <c:v>18</c:v>
                </c:pt>
                <c:pt idx="174">
                  <c:v>22</c:v>
                </c:pt>
                <c:pt idx="175">
                  <c:v>25</c:v>
                </c:pt>
                <c:pt idx="176">
                  <c:v>26</c:v>
                </c:pt>
                <c:pt idx="177">
                  <c:v>28</c:v>
                </c:pt>
                <c:pt idx="178">
                  <c:v>27</c:v>
                </c:pt>
                <c:pt idx="179">
                  <c:v>25</c:v>
                </c:pt>
                <c:pt idx="180">
                  <c:v>18</c:v>
                </c:pt>
                <c:pt idx="181">
                  <c:v>19</c:v>
                </c:pt>
                <c:pt idx="182">
                  <c:v>17</c:v>
                </c:pt>
                <c:pt idx="183">
                  <c:v>17</c:v>
                </c:pt>
                <c:pt idx="184">
                  <c:v>20</c:v>
                </c:pt>
                <c:pt idx="185">
                  <c:v>21</c:v>
                </c:pt>
                <c:pt idx="186">
                  <c:v>22</c:v>
                </c:pt>
                <c:pt idx="187">
                  <c:v>23</c:v>
                </c:pt>
                <c:pt idx="188">
                  <c:v>31</c:v>
                </c:pt>
                <c:pt idx="189">
                  <c:v>26</c:v>
                </c:pt>
                <c:pt idx="190">
                  <c:v>31</c:v>
                </c:pt>
                <c:pt idx="191">
                  <c:v>35</c:v>
                </c:pt>
                <c:pt idx="192">
                  <c:v>33</c:v>
                </c:pt>
                <c:pt idx="193">
                  <c:v>34</c:v>
                </c:pt>
                <c:pt idx="194">
                  <c:v>32</c:v>
                </c:pt>
                <c:pt idx="195">
                  <c:v>31</c:v>
                </c:pt>
                <c:pt idx="196">
                  <c:v>37</c:v>
                </c:pt>
                <c:pt idx="197">
                  <c:v>36</c:v>
                </c:pt>
                <c:pt idx="198">
                  <c:v>34</c:v>
                </c:pt>
                <c:pt idx="199">
                  <c:v>35</c:v>
                </c:pt>
                <c:pt idx="200">
                  <c:v>29</c:v>
                </c:pt>
                <c:pt idx="201">
                  <c:v>30</c:v>
                </c:pt>
                <c:pt idx="202">
                  <c:v>28</c:v>
                </c:pt>
                <c:pt idx="203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09857200"/>
        <c:axId val="30985171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CMOVoln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20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</c:numCache>
            </c:numRef>
          </c:cat>
          <c:val>
            <c:numRef>
              <c:f>Sheet1!$B$2:$B$205</c:f>
              <c:numCache>
                <c:formatCode>#,##0</c:formatCode>
                <c:ptCount val="204"/>
                <c:pt idx="0">
                  <c:v>69</c:v>
                </c:pt>
                <c:pt idx="1">
                  <c:v>65</c:v>
                </c:pt>
                <c:pt idx="2">
                  <c:v>64</c:v>
                </c:pt>
                <c:pt idx="3">
                  <c:v>64</c:v>
                </c:pt>
                <c:pt idx="4">
                  <c:v>65</c:v>
                </c:pt>
                <c:pt idx="5">
                  <c:v>65</c:v>
                </c:pt>
                <c:pt idx="6">
                  <c:v>65</c:v>
                </c:pt>
                <c:pt idx="7">
                  <c:v>66</c:v>
                </c:pt>
                <c:pt idx="8">
                  <c:v>66</c:v>
                </c:pt>
                <c:pt idx="9">
                  <c:v>64</c:v>
                </c:pt>
                <c:pt idx="10">
                  <c:v>64</c:v>
                </c:pt>
                <c:pt idx="11">
                  <c:v>64</c:v>
                </c:pt>
                <c:pt idx="12">
                  <c:v>66</c:v>
                </c:pt>
                <c:pt idx="13">
                  <c:v>66</c:v>
                </c:pt>
                <c:pt idx="14">
                  <c:v>64</c:v>
                </c:pt>
                <c:pt idx="15">
                  <c:v>66</c:v>
                </c:pt>
                <c:pt idx="16">
                  <c:v>65</c:v>
                </c:pt>
                <c:pt idx="17">
                  <c:v>65</c:v>
                </c:pt>
                <c:pt idx="18">
                  <c:v>67</c:v>
                </c:pt>
                <c:pt idx="19">
                  <c:v>66</c:v>
                </c:pt>
                <c:pt idx="20">
                  <c:v>67</c:v>
                </c:pt>
                <c:pt idx="21">
                  <c:v>65</c:v>
                </c:pt>
                <c:pt idx="22">
                  <c:v>64</c:v>
                </c:pt>
                <c:pt idx="23">
                  <c:v>62</c:v>
                </c:pt>
                <c:pt idx="24">
                  <c:v>61</c:v>
                </c:pt>
                <c:pt idx="25">
                  <c:v>62</c:v>
                </c:pt>
                <c:pt idx="26">
                  <c:v>63</c:v>
                </c:pt>
                <c:pt idx="27">
                  <c:v>64</c:v>
                </c:pt>
                <c:pt idx="28">
                  <c:v>64</c:v>
                </c:pt>
                <c:pt idx="29">
                  <c:v>66</c:v>
                </c:pt>
                <c:pt idx="30">
                  <c:v>65</c:v>
                </c:pt>
                <c:pt idx="31">
                  <c:v>64</c:v>
                </c:pt>
                <c:pt idx="32">
                  <c:v>65</c:v>
                </c:pt>
                <c:pt idx="33">
                  <c:v>66</c:v>
                </c:pt>
                <c:pt idx="34">
                  <c:v>64</c:v>
                </c:pt>
                <c:pt idx="35">
                  <c:v>64</c:v>
                </c:pt>
                <c:pt idx="36">
                  <c:v>61</c:v>
                </c:pt>
                <c:pt idx="37">
                  <c:v>61</c:v>
                </c:pt>
                <c:pt idx="38">
                  <c:v>63</c:v>
                </c:pt>
                <c:pt idx="39">
                  <c:v>61</c:v>
                </c:pt>
                <c:pt idx="40">
                  <c:v>63</c:v>
                </c:pt>
                <c:pt idx="41">
                  <c:v>65</c:v>
                </c:pt>
                <c:pt idx="42">
                  <c:v>64</c:v>
                </c:pt>
                <c:pt idx="43">
                  <c:v>62</c:v>
                </c:pt>
                <c:pt idx="44">
                  <c:v>59</c:v>
                </c:pt>
                <c:pt idx="45">
                  <c:v>57</c:v>
                </c:pt>
                <c:pt idx="46">
                  <c:v>54</c:v>
                </c:pt>
                <c:pt idx="47">
                  <c:v>53</c:v>
                </c:pt>
                <c:pt idx="48">
                  <c:v>51</c:v>
                </c:pt>
                <c:pt idx="49">
                  <c:v>50</c:v>
                </c:pt>
                <c:pt idx="50">
                  <c:v>48</c:v>
                </c:pt>
                <c:pt idx="51">
                  <c:v>54</c:v>
                </c:pt>
                <c:pt idx="52">
                  <c:v>57</c:v>
                </c:pt>
                <c:pt idx="53">
                  <c:v>57</c:v>
                </c:pt>
                <c:pt idx="54">
                  <c:v>61</c:v>
                </c:pt>
                <c:pt idx="55">
                  <c:v>59</c:v>
                </c:pt>
                <c:pt idx="56">
                  <c:v>62</c:v>
                </c:pt>
                <c:pt idx="57">
                  <c:v>64</c:v>
                </c:pt>
                <c:pt idx="58">
                  <c:v>62</c:v>
                </c:pt>
                <c:pt idx="59">
                  <c:v>65</c:v>
                </c:pt>
                <c:pt idx="60">
                  <c:v>57</c:v>
                </c:pt>
                <c:pt idx="61">
                  <c:v>56</c:v>
                </c:pt>
                <c:pt idx="62">
                  <c:v>55</c:v>
                </c:pt>
                <c:pt idx="63">
                  <c:v>55</c:v>
                </c:pt>
                <c:pt idx="64">
                  <c:v>54</c:v>
                </c:pt>
                <c:pt idx="65">
                  <c:v>54</c:v>
                </c:pt>
                <c:pt idx="66">
                  <c:v>56</c:v>
                </c:pt>
                <c:pt idx="67">
                  <c:v>52</c:v>
                </c:pt>
                <c:pt idx="68">
                  <c:v>49</c:v>
                </c:pt>
                <c:pt idx="69">
                  <c:v>47</c:v>
                </c:pt>
                <c:pt idx="70">
                  <c:v>42</c:v>
                </c:pt>
                <c:pt idx="71">
                  <c:v>38</c:v>
                </c:pt>
                <c:pt idx="72">
                  <c:v>41</c:v>
                </c:pt>
                <c:pt idx="73">
                  <c:v>41</c:v>
                </c:pt>
                <c:pt idx="74">
                  <c:v>38</c:v>
                </c:pt>
                <c:pt idx="75">
                  <c:v>38</c:v>
                </c:pt>
                <c:pt idx="76">
                  <c:v>36</c:v>
                </c:pt>
                <c:pt idx="77">
                  <c:v>37</c:v>
                </c:pt>
                <c:pt idx="78">
                  <c:v>39</c:v>
                </c:pt>
                <c:pt idx="79">
                  <c:v>38</c:v>
                </c:pt>
                <c:pt idx="80">
                  <c:v>34</c:v>
                </c:pt>
                <c:pt idx="81">
                  <c:v>32</c:v>
                </c:pt>
                <c:pt idx="82">
                  <c:v>35</c:v>
                </c:pt>
                <c:pt idx="83">
                  <c:v>36</c:v>
                </c:pt>
                <c:pt idx="84">
                  <c:v>36</c:v>
                </c:pt>
                <c:pt idx="85">
                  <c:v>38</c:v>
                </c:pt>
                <c:pt idx="86">
                  <c:v>38</c:v>
                </c:pt>
                <c:pt idx="87">
                  <c:v>38</c:v>
                </c:pt>
                <c:pt idx="88">
                  <c:v>39</c:v>
                </c:pt>
                <c:pt idx="89">
                  <c:v>37</c:v>
                </c:pt>
                <c:pt idx="90">
                  <c:v>38</c:v>
                </c:pt>
                <c:pt idx="91">
                  <c:v>37</c:v>
                </c:pt>
                <c:pt idx="92">
                  <c:v>37</c:v>
                </c:pt>
                <c:pt idx="93">
                  <c:v>40</c:v>
                </c:pt>
                <c:pt idx="94">
                  <c:v>42</c:v>
                </c:pt>
                <c:pt idx="95">
                  <c:v>43</c:v>
                </c:pt>
                <c:pt idx="96">
                  <c:v>43</c:v>
                </c:pt>
                <c:pt idx="97">
                  <c:v>44</c:v>
                </c:pt>
                <c:pt idx="98">
                  <c:v>45</c:v>
                </c:pt>
                <c:pt idx="99">
                  <c:v>48</c:v>
                </c:pt>
                <c:pt idx="100">
                  <c:v>48</c:v>
                </c:pt>
                <c:pt idx="101">
                  <c:v>47</c:v>
                </c:pt>
                <c:pt idx="102">
                  <c:v>46</c:v>
                </c:pt>
                <c:pt idx="103">
                  <c:v>47</c:v>
                </c:pt>
                <c:pt idx="104">
                  <c:v>45</c:v>
                </c:pt>
                <c:pt idx="105">
                  <c:v>44</c:v>
                </c:pt>
                <c:pt idx="106">
                  <c:v>44</c:v>
                </c:pt>
                <c:pt idx="107">
                  <c:v>45</c:v>
                </c:pt>
                <c:pt idx="108">
                  <c:v>48</c:v>
                </c:pt>
                <c:pt idx="109">
                  <c:v>48</c:v>
                </c:pt>
                <c:pt idx="110">
                  <c:v>48</c:v>
                </c:pt>
                <c:pt idx="111">
                  <c:v>48</c:v>
                </c:pt>
                <c:pt idx="112">
                  <c:v>51</c:v>
                </c:pt>
                <c:pt idx="113">
                  <c:v>47</c:v>
                </c:pt>
                <c:pt idx="114">
                  <c:v>47</c:v>
                </c:pt>
                <c:pt idx="115">
                  <c:v>47</c:v>
                </c:pt>
                <c:pt idx="116">
                  <c:v>45</c:v>
                </c:pt>
                <c:pt idx="117">
                  <c:v>45</c:v>
                </c:pt>
                <c:pt idx="118">
                  <c:v>46</c:v>
                </c:pt>
                <c:pt idx="119">
                  <c:v>44</c:v>
                </c:pt>
                <c:pt idx="120">
                  <c:v>48</c:v>
                </c:pt>
                <c:pt idx="121">
                  <c:v>45</c:v>
                </c:pt>
                <c:pt idx="122">
                  <c:v>44</c:v>
                </c:pt>
                <c:pt idx="123">
                  <c:v>41</c:v>
                </c:pt>
                <c:pt idx="124">
                  <c:v>41</c:v>
                </c:pt>
                <c:pt idx="125">
                  <c:v>41</c:v>
                </c:pt>
                <c:pt idx="126">
                  <c:v>40</c:v>
                </c:pt>
                <c:pt idx="127">
                  <c:v>39</c:v>
                </c:pt>
                <c:pt idx="128">
                  <c:v>41</c:v>
                </c:pt>
                <c:pt idx="129">
                  <c:v>43</c:v>
                </c:pt>
                <c:pt idx="130">
                  <c:v>37</c:v>
                </c:pt>
                <c:pt idx="131">
                  <c:v>37</c:v>
                </c:pt>
                <c:pt idx="132">
                  <c:v>39</c:v>
                </c:pt>
                <c:pt idx="133">
                  <c:v>42</c:v>
                </c:pt>
                <c:pt idx="134">
                  <c:v>41</c:v>
                </c:pt>
                <c:pt idx="135">
                  <c:v>37</c:v>
                </c:pt>
                <c:pt idx="136">
                  <c:v>36</c:v>
                </c:pt>
                <c:pt idx="137">
                  <c:v>39</c:v>
                </c:pt>
                <c:pt idx="138">
                  <c:v>37</c:v>
                </c:pt>
                <c:pt idx="139">
                  <c:v>38</c:v>
                </c:pt>
                <c:pt idx="140">
                  <c:v>41</c:v>
                </c:pt>
                <c:pt idx="141">
                  <c:v>39</c:v>
                </c:pt>
                <c:pt idx="142">
                  <c:v>38</c:v>
                </c:pt>
                <c:pt idx="143">
                  <c:v>40</c:v>
                </c:pt>
                <c:pt idx="144">
                  <c:v>39</c:v>
                </c:pt>
                <c:pt idx="145">
                  <c:v>39</c:v>
                </c:pt>
                <c:pt idx="146">
                  <c:v>38</c:v>
                </c:pt>
                <c:pt idx="147">
                  <c:v>36</c:v>
                </c:pt>
                <c:pt idx="148">
                  <c:v>38</c:v>
                </c:pt>
                <c:pt idx="149">
                  <c:v>37</c:v>
                </c:pt>
                <c:pt idx="150">
                  <c:v>36</c:v>
                </c:pt>
                <c:pt idx="151">
                  <c:v>40</c:v>
                </c:pt>
                <c:pt idx="152">
                  <c:v>38</c:v>
                </c:pt>
                <c:pt idx="153">
                  <c:v>38</c:v>
                </c:pt>
                <c:pt idx="154">
                  <c:v>39</c:v>
                </c:pt>
                <c:pt idx="155">
                  <c:v>41</c:v>
                </c:pt>
                <c:pt idx="156">
                  <c:v>40</c:v>
                </c:pt>
                <c:pt idx="157">
                  <c:v>43</c:v>
                </c:pt>
                <c:pt idx="158">
                  <c:v>44</c:v>
                </c:pt>
                <c:pt idx="159">
                  <c:v>44</c:v>
                </c:pt>
                <c:pt idx="160">
                  <c:v>45</c:v>
                </c:pt>
                <c:pt idx="161">
                  <c:v>41</c:v>
                </c:pt>
                <c:pt idx="162">
                  <c:v>41</c:v>
                </c:pt>
                <c:pt idx="163">
                  <c:v>43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3</c:v>
                </c:pt>
                <c:pt idx="168">
                  <c:v>41</c:v>
                </c:pt>
                <c:pt idx="169">
                  <c:v>44</c:v>
                </c:pt>
                <c:pt idx="170">
                  <c:v>45</c:v>
                </c:pt>
                <c:pt idx="171">
                  <c:v>44</c:v>
                </c:pt>
                <c:pt idx="172">
                  <c:v>43</c:v>
                </c:pt>
                <c:pt idx="173">
                  <c:v>46</c:v>
                </c:pt>
                <c:pt idx="174">
                  <c:v>42</c:v>
                </c:pt>
                <c:pt idx="175">
                  <c:v>36</c:v>
                </c:pt>
                <c:pt idx="176">
                  <c:v>38</c:v>
                </c:pt>
                <c:pt idx="177">
                  <c:v>35</c:v>
                </c:pt>
                <c:pt idx="178">
                  <c:v>41</c:v>
                </c:pt>
                <c:pt idx="179">
                  <c:v>38</c:v>
                </c:pt>
                <c:pt idx="180">
                  <c:v>40</c:v>
                </c:pt>
                <c:pt idx="181">
                  <c:v>47</c:v>
                </c:pt>
                <c:pt idx="182">
                  <c:v>45</c:v>
                </c:pt>
                <c:pt idx="183">
                  <c:v>41</c:v>
                </c:pt>
                <c:pt idx="184">
                  <c:v>43</c:v>
                </c:pt>
                <c:pt idx="185">
                  <c:v>44</c:v>
                </c:pt>
                <c:pt idx="186">
                  <c:v>42</c:v>
                </c:pt>
                <c:pt idx="187">
                  <c:v>42</c:v>
                </c:pt>
                <c:pt idx="188">
                  <c:v>41</c:v>
                </c:pt>
                <c:pt idx="189">
                  <c:v>41</c:v>
                </c:pt>
                <c:pt idx="190">
                  <c:v>39</c:v>
                </c:pt>
                <c:pt idx="191">
                  <c:v>37</c:v>
                </c:pt>
                <c:pt idx="192">
                  <c:v>36</c:v>
                </c:pt>
                <c:pt idx="193">
                  <c:v>33</c:v>
                </c:pt>
                <c:pt idx="194">
                  <c:v>31</c:v>
                </c:pt>
                <c:pt idx="195">
                  <c:v>31</c:v>
                </c:pt>
                <c:pt idx="196">
                  <c:v>32</c:v>
                </c:pt>
                <c:pt idx="197">
                  <c:v>31</c:v>
                </c:pt>
                <c:pt idx="198">
                  <c:v>26</c:v>
                </c:pt>
                <c:pt idx="199">
                  <c:v>26</c:v>
                </c:pt>
                <c:pt idx="200">
                  <c:v>22</c:v>
                </c:pt>
                <c:pt idx="201">
                  <c:v>22</c:v>
                </c:pt>
                <c:pt idx="202">
                  <c:v>24</c:v>
                </c:pt>
                <c:pt idx="203">
                  <c:v>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9C-49BB-9C0E-167486560FD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Sheet1!$A$2:$A$205</c:f>
              <c:numCache>
                <c:formatCode>m/d/yyyy</c:formatCode>
                <c:ptCount val="204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</c:numCache>
            </c:numRef>
          </c:cat>
          <c:val>
            <c:numRef>
              <c:f>Sheet1!$C$2:$C$205</c:f>
              <c:numCache>
                <c:formatCode>General</c:formatCode>
                <c:ptCount val="20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9C-49BB-9C0E-167486560F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9857200"/>
        <c:axId val="309851712"/>
      </c:lineChart>
      <c:dateAx>
        <c:axId val="3098572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1712"/>
        <c:crosses val="autoZero"/>
        <c:auto val="1"/>
        <c:lblOffset val="100"/>
        <c:baseTimeUnit val="days"/>
      </c:dateAx>
      <c:valAx>
        <c:axId val="30985171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solidFill>
            <a:schemeClr val="bg1"/>
          </a:solidFill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985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87C8B-F3B3-4CAB-B785-BFDE1A335144}" type="datetimeFigureOut">
              <a:rPr lang="cs-CZ" smtClean="0"/>
              <a:t>24.03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C133B-83D4-453A-8978-1FA1F52AB1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1092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71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265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293476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71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4.03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19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4.03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917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6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423862" y="4111207"/>
            <a:ext cx="11344275" cy="1564690"/>
          </a:xfrm>
        </p:spPr>
        <p:txBody>
          <a:bodyPr>
            <a:normAutofit/>
          </a:bodyPr>
          <a:lstStyle/>
          <a:p>
            <a:r>
              <a:rPr lang="cs-CZ" sz="4800" b="1" dirty="0"/>
              <a:t>Přehled dostupných kapacit intenzivní péče</a:t>
            </a:r>
          </a:p>
          <a:p>
            <a:pPr marL="571500" indent="-571500">
              <a:buFontTx/>
              <a:buChar char="-"/>
            </a:pPr>
            <a:r>
              <a:rPr lang="cs-CZ" sz="3600" b="1" i="1" dirty="0"/>
              <a:t>aktualizace 24.03. 2021 -</a:t>
            </a:r>
          </a:p>
        </p:txBody>
      </p:sp>
    </p:spTree>
    <p:extLst>
      <p:ext uri="{BB962C8B-B14F-4D97-AF65-F5344CB8AC3E}">
        <p14:creationId xmlns:p14="http://schemas.microsoft.com/office/powerpoint/2010/main" val="3275057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-line dispečink intenzivní péče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336401" y="989308"/>
            <a:ext cx="1138620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rávce systému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nisterstvo zdravotnictví ČR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voj a provoz: 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ZIS ČR </a:t>
            </a:r>
          </a:p>
          <a:p>
            <a:pPr algn="just"/>
            <a:endParaRPr lang="cs-CZ" sz="16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ůvod vývoje: 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 ČR se na péči podílejí nemocnice i zdravotní záchranné služby s různými zřizovateli. Dosud však není implementována funkční základna elektronického zdravotnictví, která by je propojovala. V této situaci, v jarních měsících pandemie, vytvořil ÚZIS informační systém (Národní dispečink intenzivní péče – NDIP), který je plně funkční od dubna 2020 a byl vybudován jako </a:t>
            </a:r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manažerský nástroj pro nouzové řízení kapacit intenzivní péče. </a:t>
            </a:r>
            <a:endParaRPr lang="cs-CZ" sz="1400" b="1" dirty="0">
              <a:ea typeface="Calibri" panose="020F0502020204030204" pitchFamily="34" charset="0"/>
            </a:endParaRPr>
          </a:p>
          <a:p>
            <a:pPr algn="just"/>
            <a:endParaRPr lang="cs-CZ" sz="1400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1400" b="1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Funkčnost:</a:t>
            </a:r>
            <a:r>
              <a:rPr lang="cs-CZ" sz="1400" dirty="0">
                <a:solidFill>
                  <a:srgbClr val="00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Systém umožňuje sdílení velmi omezeného rozsahu dat mezi lékaři, koordinátory intenzivní péče a zdravotnickými záchrannými službami. Nemocnice do něj zadávají informace o obsazenosti lůžek na jednotkách intenzivní péče a anesteziologicko-resuscitačních odděleních a také údaje o počtu volných přístrojů pro intenzivní péči o pacienta, zejména pak o pacienta s nemocí COVID-19. Děje se tak v reálném čase, je to tedy systém velmi proměnlivý, v čase se měnící i v hodinách, protože vždy zachycuje aktuální situaci. Vytvořením tohoto systému ÚZIS ČR usnadnil domluvu a koordinaci všech složek záchranného systému a zejména řízení v rukách krajských koordinátorů intenzivní péče.</a:t>
            </a:r>
          </a:p>
          <a:p>
            <a:pPr algn="just"/>
            <a:endParaRPr lang="cs-CZ" sz="1400" b="1" dirty="0">
              <a:solidFill>
                <a:srgbClr val="00000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cs-CZ" sz="1400" b="1" dirty="0"/>
              <a:t>Plný přístup do systému: </a:t>
            </a:r>
            <a:r>
              <a:rPr lang="cs-CZ" sz="1400" dirty="0"/>
              <a:t>Zdravotnické záchranné služby, zřizované a řízené pod krajskými samosprávami, ředitelé a vedení nemocnic, krajští koordinátoři intenzívní péče jako k tomu úkolu v každém kraji vybraní a v lékařském prostředí respektovaní odborníci, vybaveni potřebnými pravomocemi pro koordinaci intenzívní péče o pacienty s COVID-19 v rámci příslušného kraje, ale v případě potřeby koordinují přesuny pacientů do jiných krajů, koordinátoři intenzívní péče o pacienty s COVID-19 v každé nemocnici, kteří situaci řeší mj. se „svým“ krajským koordinátorem, hejtmani a krajské samosprávy, krajští radní pro zdravotnickou politiku a ředitelé zdravotnických odborů, kteří mj. řídí zdravotnické záchranné služby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  <a:p>
            <a:pPr algn="just"/>
            <a:r>
              <a:rPr lang="cs-CZ" sz="1400" b="1" dirty="0">
                <a:ea typeface="Calibri" panose="020F0502020204030204" pitchFamily="34" charset="0"/>
              </a:rPr>
              <a:t>Povolování přístupů a rozhodování o uvolňování dat: </a:t>
            </a:r>
            <a:r>
              <a:rPr lang="cs-CZ" sz="1400" dirty="0">
                <a:ea typeface="Calibri" panose="020F0502020204030204" pitchFamily="34" charset="0"/>
              </a:rPr>
              <a:t>o přístupech a zveřejňování dat rozhoduje výhradně MZ ČR jako správce systému. Přístupy jsou poskytovány právnické osobě, tedy například u nemocnic jí, jako poskytovateli. Následné využívání dat a distribuce přístupových práv je na vedení daného subjektu. </a:t>
            </a:r>
            <a:r>
              <a:rPr lang="cs-CZ" sz="1400" dirty="0"/>
              <a:t>ÚZIS nerozhoduje o tom, kteří zdravotníci v konkrétní nemocnici budou pověřeni tím, aby se systémem pracovali, ani jak efektivně jej budou reálně využívat. Kdo konkrétně a v jakém rozsahu dostane přístup do systému NDIP, vždy určuje poskytovatel zdravotnické služby z pozice zaměstnavatele. Stejně tak je tomu v případě krajských samospráv. ÚZIS pouze takto vybraným osobám přístup zprostředkuje. ÚZIS poskytuje informace, ale neřídí zdravotní péči. To je věcí Ministerstva zdravotnictví ČR a centrálního řídícího týmu COVID-19.</a:t>
            </a:r>
          </a:p>
          <a:p>
            <a:pPr algn="just"/>
            <a:endParaRPr lang="cs-CZ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89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1593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ČR v časovém vývoji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762C22-6961-498F-B05F-061834A28CB8}"/>
              </a:ext>
            </a:extLst>
          </p:cNvPr>
          <p:cNvSpPr txBox="1"/>
          <p:nvPr/>
        </p:nvSpPr>
        <p:spPr>
          <a:xfrm>
            <a:off x="1111821" y="1202616"/>
            <a:ext cx="4365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/>
              <a:t>JIP lůžka  vč. reprofilizace: dostupné kapacit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09EC90-A484-48EE-9119-94B794F54BE5}"/>
              </a:ext>
            </a:extLst>
          </p:cNvPr>
          <p:cNvSpPr txBox="1"/>
          <p:nvPr/>
        </p:nvSpPr>
        <p:spPr>
          <a:xfrm>
            <a:off x="7251274" y="1202616"/>
            <a:ext cx="2404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PV: dostupné kapaci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E536AE-AC24-4473-8E35-1129F0BFC848}"/>
              </a:ext>
            </a:extLst>
          </p:cNvPr>
          <p:cNvSpPr/>
          <p:nvPr/>
        </p:nvSpPr>
        <p:spPr>
          <a:xfrm rot="10800000">
            <a:off x="8824003" y="610642"/>
            <a:ext cx="396000" cy="250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9311949" y="579368"/>
            <a:ext cx="27008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Kapacity obsazené COVID pacien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74A98C8-BE6D-449F-BA9C-C7F88F42B1F4}"/>
              </a:ext>
            </a:extLst>
          </p:cNvPr>
          <p:cNvSpPr txBox="1"/>
          <p:nvPr/>
        </p:nvSpPr>
        <p:spPr>
          <a:xfrm>
            <a:off x="1819469" y="4014235"/>
            <a:ext cx="2599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ECMO: dostupné kapac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839319-278E-462E-A423-69B628D47E23}"/>
              </a:ext>
            </a:extLst>
          </p:cNvPr>
          <p:cNvSpPr txBox="1"/>
          <p:nvPr/>
        </p:nvSpPr>
        <p:spPr>
          <a:xfrm>
            <a:off x="9291223" y="87422"/>
            <a:ext cx="2118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Dostupné kapacity dle hlášení nemocnic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90C9D06-83B8-4A2C-B95F-1D50AD62A14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2045042"/>
              </p:ext>
            </p:extLst>
          </p:nvPr>
        </p:nvGraphicFramePr>
        <p:xfrm>
          <a:off x="6045102" y="1186087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F1333B8-8D95-4302-99DE-18682CE962D6}"/>
              </a:ext>
            </a:extLst>
          </p:cNvPr>
          <p:cNvSpPr txBox="1"/>
          <p:nvPr/>
        </p:nvSpPr>
        <p:spPr>
          <a:xfrm rot="16200000">
            <a:off x="-1459667" y="3597822"/>
            <a:ext cx="34308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Počet dostupných kapacit </a:t>
            </a:r>
            <a:r>
              <a:rPr lang="en-US" sz="1400" dirty="0"/>
              <a:t>/ </a:t>
            </a:r>
            <a:r>
              <a:rPr lang="en-US" sz="1400" dirty="0" err="1"/>
              <a:t>pacient</a:t>
            </a:r>
            <a:r>
              <a:rPr lang="cs-CZ" sz="1400" dirty="0"/>
              <a:t>ů COVID</a:t>
            </a:r>
            <a:r>
              <a:rPr lang="en-US" sz="1400" dirty="0"/>
              <a:t>+</a:t>
            </a:r>
            <a:endParaRPr lang="cs-CZ" sz="14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A8F948-CE10-4F2E-B199-0B2575C12BC4}"/>
              </a:ext>
            </a:extLst>
          </p:cNvPr>
          <p:cNvSpPr txBox="1"/>
          <p:nvPr/>
        </p:nvSpPr>
        <p:spPr>
          <a:xfrm>
            <a:off x="6806817" y="3984267"/>
            <a:ext cx="5048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cs-CZ" dirty="0" err="1"/>
              <a:t>ůžka</a:t>
            </a:r>
            <a:r>
              <a:rPr lang="cs-CZ" dirty="0"/>
              <a:t> s kyslíkem vč. </a:t>
            </a:r>
            <a:r>
              <a:rPr lang="cs-CZ" dirty="0" err="1"/>
              <a:t>reprofilizace</a:t>
            </a:r>
            <a:r>
              <a:rPr lang="cs-CZ" dirty="0"/>
              <a:t>: dostupné kapac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B0952A-78B3-4F92-AAB8-A158C31F24C4}"/>
              </a:ext>
            </a:extLst>
          </p:cNvPr>
          <p:cNvCxnSpPr/>
          <p:nvPr/>
        </p:nvCxnSpPr>
        <p:spPr>
          <a:xfrm>
            <a:off x="8824003" y="245517"/>
            <a:ext cx="396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A68EE84-2E82-4549-8438-02DC7E37AA5B}"/>
              </a:ext>
            </a:extLst>
          </p:cNvPr>
          <p:cNvCxnSpPr/>
          <p:nvPr/>
        </p:nvCxnSpPr>
        <p:spPr>
          <a:xfrm>
            <a:off x="8824003" y="320162"/>
            <a:ext cx="396000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419FC11-7A96-4E8D-831A-47357A6C3C2F}"/>
              </a:ext>
            </a:extLst>
          </p:cNvPr>
          <p:cNvCxnSpPr/>
          <p:nvPr/>
        </p:nvCxnSpPr>
        <p:spPr>
          <a:xfrm>
            <a:off x="8824003" y="394807"/>
            <a:ext cx="39600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8810CD8-3168-49F2-B864-86A3BDA842A3}"/>
              </a:ext>
            </a:extLst>
          </p:cNvPr>
          <p:cNvCxnSpPr/>
          <p:nvPr/>
        </p:nvCxnSpPr>
        <p:spPr>
          <a:xfrm>
            <a:off x="8824003" y="469451"/>
            <a:ext cx="396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27">
            <a:extLst>
              <a:ext uri="{FF2B5EF4-FFF2-40B4-BE49-F238E27FC236}">
                <a16:creationId xmlns:a16="http://schemas.microsoft.com/office/drawing/2014/main" id="{910F46E3-5B50-4EA1-ADCC-26F75A8541D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824086"/>
              </p:ext>
            </p:extLst>
          </p:nvPr>
        </p:nvGraphicFramePr>
        <p:xfrm>
          <a:off x="6096000" y="4014235"/>
          <a:ext cx="5916818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E30F85F2-0104-4418-9DC8-79B3BBAF3B1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47132696"/>
              </p:ext>
            </p:extLst>
          </p:nvPr>
        </p:nvGraphicFramePr>
        <p:xfrm>
          <a:off x="390497" y="1202616"/>
          <a:ext cx="5883645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Chart 22">
            <a:extLst>
              <a:ext uri="{FF2B5EF4-FFF2-40B4-BE49-F238E27FC236}">
                <a16:creationId xmlns:a16="http://schemas.microsoft.com/office/drawing/2014/main" id="{FD132256-4CDE-4125-B9DF-522A85F6A2C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25719884"/>
              </p:ext>
            </p:extLst>
          </p:nvPr>
        </p:nvGraphicFramePr>
        <p:xfrm>
          <a:off x="390497" y="4014235"/>
          <a:ext cx="5832749" cy="2828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315584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tupná kapacita intenzivní péče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6416774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*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1CC2D9D8-E40E-4511-ACEC-155C504D6F73}"/>
              </a:ext>
            </a:extLst>
          </p:cNvPr>
          <p:cNvSpPr txBox="1"/>
          <p:nvPr/>
        </p:nvSpPr>
        <p:spPr>
          <a:xfrm>
            <a:off x="199580" y="6459955"/>
            <a:ext cx="19784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dirty="0"/>
              <a:t>* Včetně </a:t>
            </a:r>
            <a:r>
              <a:rPr lang="cs-CZ" sz="1600" dirty="0" err="1"/>
              <a:t>reprofilizace</a:t>
            </a:r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32268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69" y="144795"/>
            <a:ext cx="8293855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zen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 COVI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za poslední 3 dny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12B617-EFC8-47A3-9ADE-E9EBD4F7AFC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5600845"/>
              </p:ext>
            </p:extLst>
          </p:nvPr>
        </p:nvGraphicFramePr>
        <p:xfrm>
          <a:off x="199580" y="1147680"/>
          <a:ext cx="11792839" cy="5289730"/>
        </p:xfrm>
        <a:graphic>
          <a:graphicData uri="http://schemas.openxmlformats.org/drawingml/2006/table">
            <a:tbl>
              <a:tblPr/>
              <a:tblGrid>
                <a:gridCol w="1468423">
                  <a:extLst>
                    <a:ext uri="{9D8B030D-6E8A-4147-A177-3AD203B41FA5}">
                      <a16:colId xmlns:a16="http://schemas.microsoft.com/office/drawing/2014/main" val="4150606983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901187104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73646451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866311018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187411557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722424766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47816049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7281828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084146701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24646784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393548229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3515241955"/>
                    </a:ext>
                  </a:extLst>
                </a:gridCol>
                <a:gridCol w="860368">
                  <a:extLst>
                    <a:ext uri="{9D8B030D-6E8A-4147-A177-3AD203B41FA5}">
                      <a16:colId xmlns:a16="http://schemas.microsoft.com/office/drawing/2014/main" val="1136750727"/>
                    </a:ext>
                  </a:extLst>
                </a:gridCol>
              </a:tblGrid>
              <a:tr h="261970">
                <a:tc>
                  <a:txBody>
                    <a:bodyPr/>
                    <a:lstStyle/>
                    <a:p>
                      <a:pPr algn="l" fontAlgn="b"/>
                      <a:endParaRPr lang="cs-CZ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P l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ůžk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O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s kyslíkem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186962"/>
                  </a:ext>
                </a:extLst>
              </a:tr>
              <a:tr h="243390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055" marR="9055" marT="905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9986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82781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95195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84174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960722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7502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752789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3279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0946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08186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95485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229680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5223303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88004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72607"/>
                  </a:ext>
                </a:extLst>
              </a:tr>
              <a:tr h="318958">
                <a:tc>
                  <a:txBody>
                    <a:bodyPr/>
                    <a:lstStyle/>
                    <a:p>
                      <a:pPr algn="l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055" marR="9055" marT="905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712677"/>
                  </a:ext>
                </a:extLst>
              </a:tr>
            </a:tbl>
          </a:graphicData>
        </a:graphic>
      </p:graphicFrame>
      <p:sp>
        <p:nvSpPr>
          <p:cNvPr id="5" name="TextBox 19">
            <a:extLst>
              <a:ext uri="{FF2B5EF4-FFF2-40B4-BE49-F238E27FC236}">
                <a16:creationId xmlns:a16="http://schemas.microsoft.com/office/drawing/2014/main" id="{6DA12B14-0A67-47C7-A14C-AF40A0E3F71C}"/>
              </a:ext>
            </a:extLst>
          </p:cNvPr>
          <p:cNvSpPr txBox="1"/>
          <p:nvPr/>
        </p:nvSpPr>
        <p:spPr>
          <a:xfrm>
            <a:off x="76509" y="6521510"/>
            <a:ext cx="11915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Hlášení posledních dnů ukazují </a:t>
            </a:r>
            <a:r>
              <a:rPr lang="cs-CZ" sz="1400"/>
              <a:t>okamžitý reálný stav </a:t>
            </a:r>
            <a:r>
              <a:rPr lang="cs-CZ" sz="1400" dirty="0"/>
              <a:t>k půlnoci reportovaného dne. Zpětným dohlášením záznamů (překlady, úmrtí, apod.) se počty mohou měnit. </a:t>
            </a:r>
          </a:p>
        </p:txBody>
      </p:sp>
    </p:spTree>
    <p:extLst>
      <p:ext uri="{BB962C8B-B14F-4D97-AF65-F5344CB8AC3E}">
        <p14:creationId xmlns:p14="http://schemas.microsoft.com/office/powerpoint/2010/main" val="4130718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15</TotalTime>
  <Words>1045</Words>
  <Application>Microsoft Office PowerPoint</Application>
  <PresentationFormat>Širokoúhlá obrazovka</PresentationFormat>
  <Paragraphs>454</Paragraphs>
  <Slides>5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9" baseType="lpstr">
      <vt:lpstr>Arial</vt:lpstr>
      <vt:lpstr>Calibri</vt:lpstr>
      <vt:lpstr>Calibri Light</vt:lpstr>
      <vt:lpstr>Motiv Office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Brožová Lucie Mgr.</cp:lastModifiedBy>
  <cp:revision>574</cp:revision>
  <dcterms:created xsi:type="dcterms:W3CDTF">2020-08-08T14:25:07Z</dcterms:created>
  <dcterms:modified xsi:type="dcterms:W3CDTF">2021-03-24T04:43:51Z</dcterms:modified>
</cp:coreProperties>
</file>